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2.xml" ContentType="application/vnd.openxmlformats-officedocument.theme+xml"/>
  <Override PartName="/ppt/tags/tag3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6"/>
  </p:notesMasterIdLst>
  <p:sldIdLst>
    <p:sldId id="379" r:id="rId5"/>
    <p:sldId id="397" r:id="rId6"/>
    <p:sldId id="385" r:id="rId7"/>
    <p:sldId id="396" r:id="rId8"/>
    <p:sldId id="388" r:id="rId9"/>
    <p:sldId id="398" r:id="rId10"/>
    <p:sldId id="399" r:id="rId11"/>
    <p:sldId id="400" r:id="rId12"/>
    <p:sldId id="401" r:id="rId13"/>
    <p:sldId id="402" r:id="rId14"/>
    <p:sldId id="403" r:id="rId15"/>
  </p:sldIdLst>
  <p:sldSz cx="12192000" cy="6858000"/>
  <p:notesSz cx="6858000" cy="9144000"/>
  <p:custDataLst>
    <p:tags r:id="rId17"/>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36" userDrawn="1">
          <p15:clr>
            <a:srgbClr val="A4A3A4"/>
          </p15:clr>
        </p15:guide>
        <p15:guide id="2" pos="3636" userDrawn="1">
          <p15:clr>
            <a:srgbClr val="A4A3A4"/>
          </p15:clr>
        </p15:guide>
        <p15:guide id="3" orient="horz" pos="1344" userDrawn="1">
          <p15:clr>
            <a:srgbClr val="A4A3A4"/>
          </p15:clr>
        </p15:guide>
        <p15:guide id="4" pos="3749"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48D37"/>
    <a:srgbClr val="FF6600"/>
    <a:srgbClr val="A5C8B2"/>
    <a:srgbClr val="019F91"/>
    <a:srgbClr val="01AEB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F0DEF18-D692-4395-A039-3F493EFC7178}" v="6" dt="2024-04-15T12:46:05.149"/>
  </p1510:revLst>
</p1510:revInfo>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82035" autoAdjust="0"/>
  </p:normalViewPr>
  <p:slideViewPr>
    <p:cSldViewPr snapToGrid="0" showGuides="1">
      <p:cViewPr varScale="1">
        <p:scale>
          <a:sx n="70" d="100"/>
          <a:sy n="70" d="100"/>
        </p:scale>
        <p:origin x="1123" y="58"/>
      </p:cViewPr>
      <p:guideLst>
        <p:guide orient="horz" pos="3936"/>
        <p:guide pos="3636"/>
        <p:guide orient="horz" pos="1344"/>
        <p:guide pos="3749"/>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osma, Janneke" userId="fbc09de8-61da-4812-b08f-019a8e6904b9" providerId="ADAL" clId="{7F0DEF18-D692-4395-A039-3F493EFC7178}"/>
    <pc:docChg chg="undo custSel addSld delSld modSld">
      <pc:chgData name="Bosma, Janneke" userId="fbc09de8-61da-4812-b08f-019a8e6904b9" providerId="ADAL" clId="{7F0DEF18-D692-4395-A039-3F493EFC7178}" dt="2024-04-15T12:58:50.734" v="319" actId="20577"/>
      <pc:docMkLst>
        <pc:docMk/>
      </pc:docMkLst>
      <pc:sldChg chg="modSp add del mod">
        <pc:chgData name="Bosma, Janneke" userId="fbc09de8-61da-4812-b08f-019a8e6904b9" providerId="ADAL" clId="{7F0DEF18-D692-4395-A039-3F493EFC7178}" dt="2024-04-15T12:58:50.734" v="319" actId="20577"/>
        <pc:sldMkLst>
          <pc:docMk/>
          <pc:sldMk cId="1539123830" sldId="385"/>
        </pc:sldMkLst>
        <pc:spChg chg="mod">
          <ac:chgData name="Bosma, Janneke" userId="fbc09de8-61da-4812-b08f-019a8e6904b9" providerId="ADAL" clId="{7F0DEF18-D692-4395-A039-3F493EFC7178}" dt="2024-04-15T12:58:50.734" v="319" actId="20577"/>
          <ac:spMkLst>
            <pc:docMk/>
            <pc:sldMk cId="1539123830" sldId="385"/>
            <ac:spMk id="2" creationId="{66EECF1F-3A3A-48A9-AF99-34EA2FE500E0}"/>
          </ac:spMkLst>
        </pc:spChg>
        <pc:spChg chg="mod">
          <ac:chgData name="Bosma, Janneke" userId="fbc09de8-61da-4812-b08f-019a8e6904b9" providerId="ADAL" clId="{7F0DEF18-D692-4395-A039-3F493EFC7178}" dt="2024-04-15T12:46:59.618" v="239" actId="5793"/>
          <ac:spMkLst>
            <pc:docMk/>
            <pc:sldMk cId="1539123830" sldId="385"/>
            <ac:spMk id="5" creationId="{40BEEE44-7F2B-BDF1-A14B-33D44B17EE26}"/>
          </ac:spMkLst>
        </pc:spChg>
      </pc:sldChg>
      <pc:sldChg chg="del">
        <pc:chgData name="Bosma, Janneke" userId="fbc09de8-61da-4812-b08f-019a8e6904b9" providerId="ADAL" clId="{7F0DEF18-D692-4395-A039-3F493EFC7178}" dt="2024-04-15T12:41:14.878" v="2" actId="47"/>
        <pc:sldMkLst>
          <pc:docMk/>
          <pc:sldMk cId="3297848897" sldId="386"/>
        </pc:sldMkLst>
      </pc:sldChg>
      <pc:sldChg chg="del">
        <pc:chgData name="Bosma, Janneke" userId="fbc09de8-61da-4812-b08f-019a8e6904b9" providerId="ADAL" clId="{7F0DEF18-D692-4395-A039-3F493EFC7178}" dt="2024-04-15T12:41:15.120" v="3" actId="47"/>
        <pc:sldMkLst>
          <pc:docMk/>
          <pc:sldMk cId="1171883787" sldId="387"/>
        </pc:sldMkLst>
      </pc:sldChg>
      <pc:sldChg chg="modSp add del mod">
        <pc:chgData name="Bosma, Janneke" userId="fbc09de8-61da-4812-b08f-019a8e6904b9" providerId="ADAL" clId="{7F0DEF18-D692-4395-A039-3F493EFC7178}" dt="2024-04-15T12:58:46.120" v="317" actId="20577"/>
        <pc:sldMkLst>
          <pc:docMk/>
          <pc:sldMk cId="748100936" sldId="388"/>
        </pc:sldMkLst>
        <pc:spChg chg="mod">
          <ac:chgData name="Bosma, Janneke" userId="fbc09de8-61da-4812-b08f-019a8e6904b9" providerId="ADAL" clId="{7F0DEF18-D692-4395-A039-3F493EFC7178}" dt="2024-04-15T12:58:46.120" v="317" actId="20577"/>
          <ac:spMkLst>
            <pc:docMk/>
            <pc:sldMk cId="748100936" sldId="388"/>
            <ac:spMk id="2" creationId="{66EECF1F-3A3A-48A9-AF99-34EA2FE500E0}"/>
          </ac:spMkLst>
        </pc:spChg>
        <pc:spChg chg="mod">
          <ac:chgData name="Bosma, Janneke" userId="fbc09de8-61da-4812-b08f-019a8e6904b9" providerId="ADAL" clId="{7F0DEF18-D692-4395-A039-3F493EFC7178}" dt="2024-04-15T12:49:35.744" v="263" actId="20577"/>
          <ac:spMkLst>
            <pc:docMk/>
            <pc:sldMk cId="748100936" sldId="388"/>
            <ac:spMk id="4" creationId="{0D450E02-4A61-8A4F-DFCB-076C0CA610BB}"/>
          </ac:spMkLst>
        </pc:spChg>
      </pc:sldChg>
      <pc:sldChg chg="del">
        <pc:chgData name="Bosma, Janneke" userId="fbc09de8-61da-4812-b08f-019a8e6904b9" providerId="ADAL" clId="{7F0DEF18-D692-4395-A039-3F493EFC7178}" dt="2024-04-15T12:41:15.394" v="4" actId="47"/>
        <pc:sldMkLst>
          <pc:docMk/>
          <pc:sldMk cId="2894291067" sldId="389"/>
        </pc:sldMkLst>
      </pc:sldChg>
      <pc:sldChg chg="del">
        <pc:chgData name="Bosma, Janneke" userId="fbc09de8-61da-4812-b08f-019a8e6904b9" providerId="ADAL" clId="{7F0DEF18-D692-4395-A039-3F493EFC7178}" dt="2024-04-15T12:41:15.636" v="5" actId="47"/>
        <pc:sldMkLst>
          <pc:docMk/>
          <pc:sldMk cId="722055171" sldId="390"/>
        </pc:sldMkLst>
      </pc:sldChg>
      <pc:sldChg chg="del">
        <pc:chgData name="Bosma, Janneke" userId="fbc09de8-61da-4812-b08f-019a8e6904b9" providerId="ADAL" clId="{7F0DEF18-D692-4395-A039-3F493EFC7178}" dt="2024-04-15T12:41:15.895" v="6" actId="47"/>
        <pc:sldMkLst>
          <pc:docMk/>
          <pc:sldMk cId="547507598" sldId="391"/>
        </pc:sldMkLst>
      </pc:sldChg>
      <pc:sldChg chg="del">
        <pc:chgData name="Bosma, Janneke" userId="fbc09de8-61da-4812-b08f-019a8e6904b9" providerId="ADAL" clId="{7F0DEF18-D692-4395-A039-3F493EFC7178}" dt="2024-04-15T12:41:16.396" v="8" actId="47"/>
        <pc:sldMkLst>
          <pc:docMk/>
          <pc:sldMk cId="3823207965" sldId="392"/>
        </pc:sldMkLst>
      </pc:sldChg>
      <pc:sldChg chg="del">
        <pc:chgData name="Bosma, Janneke" userId="fbc09de8-61da-4812-b08f-019a8e6904b9" providerId="ADAL" clId="{7F0DEF18-D692-4395-A039-3F493EFC7178}" dt="2024-04-15T12:41:17.741" v="10" actId="47"/>
        <pc:sldMkLst>
          <pc:docMk/>
          <pc:sldMk cId="4258599563" sldId="393"/>
        </pc:sldMkLst>
      </pc:sldChg>
      <pc:sldChg chg="del">
        <pc:chgData name="Bosma, Janneke" userId="fbc09de8-61da-4812-b08f-019a8e6904b9" providerId="ADAL" clId="{7F0DEF18-D692-4395-A039-3F493EFC7178}" dt="2024-04-15T12:41:17.472" v="9" actId="47"/>
        <pc:sldMkLst>
          <pc:docMk/>
          <pc:sldMk cId="420100076" sldId="394"/>
        </pc:sldMkLst>
      </pc:sldChg>
      <pc:sldChg chg="del">
        <pc:chgData name="Bosma, Janneke" userId="fbc09de8-61da-4812-b08f-019a8e6904b9" providerId="ADAL" clId="{7F0DEF18-D692-4395-A039-3F493EFC7178}" dt="2024-04-15T12:41:16.121" v="7" actId="47"/>
        <pc:sldMkLst>
          <pc:docMk/>
          <pc:sldMk cId="1574453358" sldId="395"/>
        </pc:sldMkLst>
      </pc:sldChg>
      <pc:sldChg chg="modSp add mod">
        <pc:chgData name="Bosma, Janneke" userId="fbc09de8-61da-4812-b08f-019a8e6904b9" providerId="ADAL" clId="{7F0DEF18-D692-4395-A039-3F493EFC7178}" dt="2024-04-15T12:58:48.145" v="318" actId="20577"/>
        <pc:sldMkLst>
          <pc:docMk/>
          <pc:sldMk cId="3388314341" sldId="396"/>
        </pc:sldMkLst>
        <pc:spChg chg="mod">
          <ac:chgData name="Bosma, Janneke" userId="fbc09de8-61da-4812-b08f-019a8e6904b9" providerId="ADAL" clId="{7F0DEF18-D692-4395-A039-3F493EFC7178}" dt="2024-04-15T12:58:48.145" v="318" actId="20577"/>
          <ac:spMkLst>
            <pc:docMk/>
            <pc:sldMk cId="3388314341" sldId="396"/>
            <ac:spMk id="2" creationId="{66EECF1F-3A3A-48A9-AF99-34EA2FE500E0}"/>
          </ac:spMkLst>
        </pc:spChg>
        <pc:spChg chg="mod">
          <ac:chgData name="Bosma, Janneke" userId="fbc09de8-61da-4812-b08f-019a8e6904b9" providerId="ADAL" clId="{7F0DEF18-D692-4395-A039-3F493EFC7178}" dt="2024-04-15T12:48:54.862" v="261" actId="20577"/>
          <ac:spMkLst>
            <pc:docMk/>
            <pc:sldMk cId="3388314341" sldId="396"/>
            <ac:spMk id="3" creationId="{52A13EDA-4355-7AA7-3CE6-7620702AC536}"/>
          </ac:spMkLst>
        </pc:spChg>
        <pc:spChg chg="mod">
          <ac:chgData name="Bosma, Janneke" userId="fbc09de8-61da-4812-b08f-019a8e6904b9" providerId="ADAL" clId="{7F0DEF18-D692-4395-A039-3F493EFC7178}" dt="2024-04-15T12:48:21.941" v="246" actId="12"/>
          <ac:spMkLst>
            <pc:docMk/>
            <pc:sldMk cId="3388314341" sldId="396"/>
            <ac:spMk id="5" creationId="{40BEEE44-7F2B-BDF1-A14B-33D44B17EE26}"/>
          </ac:spMkLst>
        </pc:spChg>
      </pc:sldChg>
      <pc:sldChg chg="modSp add mod">
        <pc:chgData name="Bosma, Janneke" userId="fbc09de8-61da-4812-b08f-019a8e6904b9" providerId="ADAL" clId="{7F0DEF18-D692-4395-A039-3F493EFC7178}" dt="2024-04-15T12:45:38.721" v="235" actId="20577"/>
        <pc:sldMkLst>
          <pc:docMk/>
          <pc:sldMk cId="3516489296" sldId="397"/>
        </pc:sldMkLst>
        <pc:spChg chg="mod">
          <ac:chgData name="Bosma, Janneke" userId="fbc09de8-61da-4812-b08f-019a8e6904b9" providerId="ADAL" clId="{7F0DEF18-D692-4395-A039-3F493EFC7178}" dt="2024-04-15T12:41:58.483" v="42" actId="20577"/>
          <ac:spMkLst>
            <pc:docMk/>
            <pc:sldMk cId="3516489296" sldId="397"/>
            <ac:spMk id="2" creationId="{66EECF1F-3A3A-48A9-AF99-34EA2FE500E0}"/>
          </ac:spMkLst>
        </pc:spChg>
        <pc:spChg chg="mod">
          <ac:chgData name="Bosma, Janneke" userId="fbc09de8-61da-4812-b08f-019a8e6904b9" providerId="ADAL" clId="{7F0DEF18-D692-4395-A039-3F493EFC7178}" dt="2024-04-15T12:42:28.812" v="49" actId="20577"/>
          <ac:spMkLst>
            <pc:docMk/>
            <pc:sldMk cId="3516489296" sldId="397"/>
            <ac:spMk id="9" creationId="{60C59D0C-7F34-5328-F8A3-2C3D5BD21F19}"/>
          </ac:spMkLst>
        </pc:spChg>
        <pc:spChg chg="mod">
          <ac:chgData name="Bosma, Janneke" userId="fbc09de8-61da-4812-b08f-019a8e6904b9" providerId="ADAL" clId="{7F0DEF18-D692-4395-A039-3F493EFC7178}" dt="2024-04-15T12:43:11.101" v="83" actId="20577"/>
          <ac:spMkLst>
            <pc:docMk/>
            <pc:sldMk cId="3516489296" sldId="397"/>
            <ac:spMk id="13" creationId="{F8425492-1027-AF53-46FF-0C1AB39AE994}"/>
          </ac:spMkLst>
        </pc:spChg>
        <pc:spChg chg="mod">
          <ac:chgData name="Bosma, Janneke" userId="fbc09de8-61da-4812-b08f-019a8e6904b9" providerId="ADAL" clId="{7F0DEF18-D692-4395-A039-3F493EFC7178}" dt="2024-04-15T12:43:40.233" v="103" actId="20577"/>
          <ac:spMkLst>
            <pc:docMk/>
            <pc:sldMk cId="3516489296" sldId="397"/>
            <ac:spMk id="14" creationId="{9448B57C-F5A4-AEFA-122A-DFF09EB74573}"/>
          </ac:spMkLst>
        </pc:spChg>
        <pc:spChg chg="mod">
          <ac:chgData name="Bosma, Janneke" userId="fbc09de8-61da-4812-b08f-019a8e6904b9" providerId="ADAL" clId="{7F0DEF18-D692-4395-A039-3F493EFC7178}" dt="2024-04-15T12:45:10.540" v="133" actId="20577"/>
          <ac:spMkLst>
            <pc:docMk/>
            <pc:sldMk cId="3516489296" sldId="397"/>
            <ac:spMk id="15" creationId="{E8CDE6DC-D889-9DE9-5FD3-20C9EA913B72}"/>
          </ac:spMkLst>
        </pc:spChg>
        <pc:spChg chg="mod">
          <ac:chgData name="Bosma, Janneke" userId="fbc09de8-61da-4812-b08f-019a8e6904b9" providerId="ADAL" clId="{7F0DEF18-D692-4395-A039-3F493EFC7178}" dt="2024-04-15T12:45:19.656" v="170" actId="20577"/>
          <ac:spMkLst>
            <pc:docMk/>
            <pc:sldMk cId="3516489296" sldId="397"/>
            <ac:spMk id="16" creationId="{733BB036-B6B9-C5C5-1F5D-5465D704989E}"/>
          </ac:spMkLst>
        </pc:spChg>
        <pc:spChg chg="mod">
          <ac:chgData name="Bosma, Janneke" userId="fbc09de8-61da-4812-b08f-019a8e6904b9" providerId="ADAL" clId="{7F0DEF18-D692-4395-A039-3F493EFC7178}" dt="2024-04-15T12:45:38.721" v="235" actId="20577"/>
          <ac:spMkLst>
            <pc:docMk/>
            <pc:sldMk cId="3516489296" sldId="397"/>
            <ac:spMk id="17" creationId="{EA8662EF-1D91-FD69-1FD7-3879D2D9E2CA}"/>
          </ac:spMkLst>
        </pc:spChg>
      </pc:sldChg>
      <pc:sldChg chg="modSp add mod">
        <pc:chgData name="Bosma, Janneke" userId="fbc09de8-61da-4812-b08f-019a8e6904b9" providerId="ADAL" clId="{7F0DEF18-D692-4395-A039-3F493EFC7178}" dt="2024-04-15T12:58:44.197" v="316" actId="20577"/>
        <pc:sldMkLst>
          <pc:docMk/>
          <pc:sldMk cId="570974521" sldId="398"/>
        </pc:sldMkLst>
        <pc:spChg chg="mod">
          <ac:chgData name="Bosma, Janneke" userId="fbc09de8-61da-4812-b08f-019a8e6904b9" providerId="ADAL" clId="{7F0DEF18-D692-4395-A039-3F493EFC7178}" dt="2024-04-15T12:58:44.197" v="316" actId="20577"/>
          <ac:spMkLst>
            <pc:docMk/>
            <pc:sldMk cId="570974521" sldId="398"/>
            <ac:spMk id="2" creationId="{66EECF1F-3A3A-48A9-AF99-34EA2FE500E0}"/>
          </ac:spMkLst>
        </pc:spChg>
        <pc:spChg chg="mod">
          <ac:chgData name="Bosma, Janneke" userId="fbc09de8-61da-4812-b08f-019a8e6904b9" providerId="ADAL" clId="{7F0DEF18-D692-4395-A039-3F493EFC7178}" dt="2024-04-15T12:51:55.089" v="289" actId="20577"/>
          <ac:spMkLst>
            <pc:docMk/>
            <pc:sldMk cId="570974521" sldId="398"/>
            <ac:spMk id="4" creationId="{0D450E02-4A61-8A4F-DFCB-076C0CA610BB}"/>
          </ac:spMkLst>
        </pc:spChg>
      </pc:sldChg>
      <pc:sldChg chg="modSp add mod">
        <pc:chgData name="Bosma, Janneke" userId="fbc09de8-61da-4812-b08f-019a8e6904b9" providerId="ADAL" clId="{7F0DEF18-D692-4395-A039-3F493EFC7178}" dt="2024-04-15T12:58:39.446" v="315" actId="20577"/>
        <pc:sldMkLst>
          <pc:docMk/>
          <pc:sldMk cId="2418587023" sldId="399"/>
        </pc:sldMkLst>
        <pc:spChg chg="mod">
          <ac:chgData name="Bosma, Janneke" userId="fbc09de8-61da-4812-b08f-019a8e6904b9" providerId="ADAL" clId="{7F0DEF18-D692-4395-A039-3F493EFC7178}" dt="2024-04-15T12:58:39.446" v="315" actId="20577"/>
          <ac:spMkLst>
            <pc:docMk/>
            <pc:sldMk cId="2418587023" sldId="399"/>
            <ac:spMk id="2" creationId="{66EECF1F-3A3A-48A9-AF99-34EA2FE500E0}"/>
          </ac:spMkLst>
        </pc:spChg>
        <pc:spChg chg="mod">
          <ac:chgData name="Bosma, Janneke" userId="fbc09de8-61da-4812-b08f-019a8e6904b9" providerId="ADAL" clId="{7F0DEF18-D692-4395-A039-3F493EFC7178}" dt="2024-04-15T12:51:48.875" v="287" actId="20577"/>
          <ac:spMkLst>
            <pc:docMk/>
            <pc:sldMk cId="2418587023" sldId="399"/>
            <ac:spMk id="4" creationId="{0D450E02-4A61-8A4F-DFCB-076C0CA610BB}"/>
          </ac:spMkLst>
        </pc:spChg>
      </pc:sldChg>
      <pc:sldChg chg="modSp add mod">
        <pc:chgData name="Bosma, Janneke" userId="fbc09de8-61da-4812-b08f-019a8e6904b9" providerId="ADAL" clId="{7F0DEF18-D692-4395-A039-3F493EFC7178}" dt="2024-04-15T12:58:36.535" v="312" actId="20577"/>
        <pc:sldMkLst>
          <pc:docMk/>
          <pc:sldMk cId="2216068714" sldId="400"/>
        </pc:sldMkLst>
        <pc:spChg chg="mod">
          <ac:chgData name="Bosma, Janneke" userId="fbc09de8-61da-4812-b08f-019a8e6904b9" providerId="ADAL" clId="{7F0DEF18-D692-4395-A039-3F493EFC7178}" dt="2024-04-15T12:58:36.535" v="312" actId="20577"/>
          <ac:spMkLst>
            <pc:docMk/>
            <pc:sldMk cId="2216068714" sldId="400"/>
            <ac:spMk id="2" creationId="{66EECF1F-3A3A-48A9-AF99-34EA2FE500E0}"/>
          </ac:spMkLst>
        </pc:spChg>
        <pc:spChg chg="mod">
          <ac:chgData name="Bosma, Janneke" userId="fbc09de8-61da-4812-b08f-019a8e6904b9" providerId="ADAL" clId="{7F0DEF18-D692-4395-A039-3F493EFC7178}" dt="2024-04-15T12:56:15.632" v="301" actId="20577"/>
          <ac:spMkLst>
            <pc:docMk/>
            <pc:sldMk cId="2216068714" sldId="400"/>
            <ac:spMk id="4" creationId="{0D450E02-4A61-8A4F-DFCB-076C0CA610BB}"/>
          </ac:spMkLst>
        </pc:spChg>
        <pc:picChg chg="mod">
          <ac:chgData name="Bosma, Janneke" userId="fbc09de8-61da-4812-b08f-019a8e6904b9" providerId="ADAL" clId="{7F0DEF18-D692-4395-A039-3F493EFC7178}" dt="2024-04-15T12:56:03.983" v="297" actId="1076"/>
          <ac:picMkLst>
            <pc:docMk/>
            <pc:sldMk cId="2216068714" sldId="400"/>
            <ac:picMk id="8" creationId="{B0E8AECE-ECFB-ADA0-E2E8-F46B6C2DC738}"/>
          </ac:picMkLst>
        </pc:picChg>
      </pc:sldChg>
      <pc:sldChg chg="modSp add mod">
        <pc:chgData name="Bosma, Janneke" userId="fbc09de8-61da-4812-b08f-019a8e6904b9" providerId="ADAL" clId="{7F0DEF18-D692-4395-A039-3F493EFC7178}" dt="2024-04-15T12:58:34.596" v="311" actId="20577"/>
        <pc:sldMkLst>
          <pc:docMk/>
          <pc:sldMk cId="1133550296" sldId="401"/>
        </pc:sldMkLst>
        <pc:spChg chg="mod">
          <ac:chgData name="Bosma, Janneke" userId="fbc09de8-61da-4812-b08f-019a8e6904b9" providerId="ADAL" clId="{7F0DEF18-D692-4395-A039-3F493EFC7178}" dt="2024-04-15T12:58:34.596" v="311" actId="20577"/>
          <ac:spMkLst>
            <pc:docMk/>
            <pc:sldMk cId="1133550296" sldId="401"/>
            <ac:spMk id="2" creationId="{66EECF1F-3A3A-48A9-AF99-34EA2FE500E0}"/>
          </ac:spMkLst>
        </pc:spChg>
        <pc:spChg chg="mod">
          <ac:chgData name="Bosma, Janneke" userId="fbc09de8-61da-4812-b08f-019a8e6904b9" providerId="ADAL" clId="{7F0DEF18-D692-4395-A039-3F493EFC7178}" dt="2024-04-15T12:56:49.470" v="302"/>
          <ac:spMkLst>
            <pc:docMk/>
            <pc:sldMk cId="1133550296" sldId="401"/>
            <ac:spMk id="4" creationId="{0D450E02-4A61-8A4F-DFCB-076C0CA610BB}"/>
          </ac:spMkLst>
        </pc:spChg>
      </pc:sldChg>
      <pc:sldChg chg="modSp add mod">
        <pc:chgData name="Bosma, Janneke" userId="fbc09de8-61da-4812-b08f-019a8e6904b9" providerId="ADAL" clId="{7F0DEF18-D692-4395-A039-3F493EFC7178}" dt="2024-04-15T12:58:32.698" v="310" actId="20577"/>
        <pc:sldMkLst>
          <pc:docMk/>
          <pc:sldMk cId="65303109" sldId="402"/>
        </pc:sldMkLst>
        <pc:spChg chg="mod">
          <ac:chgData name="Bosma, Janneke" userId="fbc09de8-61da-4812-b08f-019a8e6904b9" providerId="ADAL" clId="{7F0DEF18-D692-4395-A039-3F493EFC7178}" dt="2024-04-15T12:58:32.698" v="310" actId="20577"/>
          <ac:spMkLst>
            <pc:docMk/>
            <pc:sldMk cId="65303109" sldId="402"/>
            <ac:spMk id="2" creationId="{66EECF1F-3A3A-48A9-AF99-34EA2FE500E0}"/>
          </ac:spMkLst>
        </pc:spChg>
        <pc:spChg chg="mod">
          <ac:chgData name="Bosma, Janneke" userId="fbc09de8-61da-4812-b08f-019a8e6904b9" providerId="ADAL" clId="{7F0DEF18-D692-4395-A039-3F493EFC7178}" dt="2024-04-15T12:57:38.104" v="306" actId="20577"/>
          <ac:spMkLst>
            <pc:docMk/>
            <pc:sldMk cId="65303109" sldId="402"/>
            <ac:spMk id="4" creationId="{0D450E02-4A61-8A4F-DFCB-076C0CA610BB}"/>
          </ac:spMkLst>
        </pc:spChg>
      </pc:sldChg>
      <pc:sldChg chg="modSp add del mod">
        <pc:chgData name="Bosma, Janneke" userId="fbc09de8-61da-4812-b08f-019a8e6904b9" providerId="ADAL" clId="{7F0DEF18-D692-4395-A039-3F493EFC7178}" dt="2024-04-15T12:58:30.656" v="309" actId="20577"/>
        <pc:sldMkLst>
          <pc:docMk/>
          <pc:sldMk cId="2409312930" sldId="403"/>
        </pc:sldMkLst>
        <pc:spChg chg="mod">
          <ac:chgData name="Bosma, Janneke" userId="fbc09de8-61da-4812-b08f-019a8e6904b9" providerId="ADAL" clId="{7F0DEF18-D692-4395-A039-3F493EFC7178}" dt="2024-04-15T12:58:30.656" v="309" actId="20577"/>
          <ac:spMkLst>
            <pc:docMk/>
            <pc:sldMk cId="2409312930" sldId="403"/>
            <ac:spMk id="2" creationId="{66EECF1F-3A3A-48A9-AF99-34EA2FE500E0}"/>
          </ac:spMkLst>
        </pc:spChg>
        <pc:spChg chg="mod">
          <ac:chgData name="Bosma, Janneke" userId="fbc09de8-61da-4812-b08f-019a8e6904b9" providerId="ADAL" clId="{7F0DEF18-D692-4395-A039-3F493EFC7178}" dt="2024-04-15T12:58:22.907" v="308"/>
          <ac:spMkLst>
            <pc:docMk/>
            <pc:sldMk cId="2409312930" sldId="403"/>
            <ac:spMk id="4" creationId="{0D450E02-4A61-8A4F-DFCB-076C0CA610BB}"/>
          </ac:spMkLst>
        </pc:spChg>
      </pc:sldChg>
      <pc:sldChg chg="add del">
        <pc:chgData name="Bosma, Janneke" userId="fbc09de8-61da-4812-b08f-019a8e6904b9" providerId="ADAL" clId="{7F0DEF18-D692-4395-A039-3F493EFC7178}" dt="2024-04-15T12:57:49.020" v="307" actId="47"/>
        <pc:sldMkLst>
          <pc:docMk/>
          <pc:sldMk cId="97155566" sldId="404"/>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B684A2C-AF06-43EB-B93A-E4E444740058}" type="datetimeFigureOut">
              <a:rPr lang="nl-NL" smtClean="0"/>
              <a:t>15-4-2024</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B9DD330-543A-4594-B84E-BE963B41153A}" type="slidenum">
              <a:rPr lang="nl-NL" smtClean="0"/>
              <a:t>‹nr.›</a:t>
            </a:fld>
            <a:endParaRPr lang="nl-NL"/>
          </a:p>
        </p:txBody>
      </p:sp>
    </p:spTree>
    <p:extLst>
      <p:ext uri="{BB962C8B-B14F-4D97-AF65-F5344CB8AC3E}">
        <p14:creationId xmlns:p14="http://schemas.microsoft.com/office/powerpoint/2010/main" val="28685144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vectorstock.com/royalty-free-vector/a-set-of-cats-collection-cartoon-kittens-vector-18485981"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a:t>
            </a:fld>
            <a:endParaRPr lang="nl-NL"/>
          </a:p>
        </p:txBody>
      </p:sp>
    </p:spTree>
    <p:extLst>
      <p:ext uri="{BB962C8B-B14F-4D97-AF65-F5344CB8AC3E}">
        <p14:creationId xmlns:p14="http://schemas.microsoft.com/office/powerpoint/2010/main" val="4962673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Bron figuren van katten: </a:t>
            </a:r>
            <a:r>
              <a:rPr lang="en-US" dirty="0">
                <a:hlinkClick r:id="rId3"/>
              </a:rPr>
              <a:t>A set of cats collection cartoon kittens Vector Image (vectorstock.com)</a:t>
            </a:r>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3</a:t>
            </a:fld>
            <a:endParaRPr lang="nl-NL"/>
          </a:p>
        </p:txBody>
      </p:sp>
    </p:spTree>
    <p:extLst>
      <p:ext uri="{BB962C8B-B14F-4D97-AF65-F5344CB8AC3E}">
        <p14:creationId xmlns:p14="http://schemas.microsoft.com/office/powerpoint/2010/main" val="12829269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6</a:t>
            </a:fld>
            <a:endParaRPr lang="nl-NL"/>
          </a:p>
        </p:txBody>
      </p:sp>
    </p:spTree>
    <p:extLst>
      <p:ext uri="{BB962C8B-B14F-4D97-AF65-F5344CB8AC3E}">
        <p14:creationId xmlns:p14="http://schemas.microsoft.com/office/powerpoint/2010/main" val="6829907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8</a:t>
            </a:fld>
            <a:endParaRPr lang="nl-NL"/>
          </a:p>
        </p:txBody>
      </p:sp>
    </p:spTree>
    <p:extLst>
      <p:ext uri="{BB962C8B-B14F-4D97-AF65-F5344CB8AC3E}">
        <p14:creationId xmlns:p14="http://schemas.microsoft.com/office/powerpoint/2010/main" val="14448160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9</a:t>
            </a:fld>
            <a:endParaRPr lang="nl-NL"/>
          </a:p>
        </p:txBody>
      </p:sp>
    </p:spTree>
    <p:extLst>
      <p:ext uri="{BB962C8B-B14F-4D97-AF65-F5344CB8AC3E}">
        <p14:creationId xmlns:p14="http://schemas.microsoft.com/office/powerpoint/2010/main" val="40129565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0</a:t>
            </a:fld>
            <a:endParaRPr lang="nl-NL"/>
          </a:p>
        </p:txBody>
      </p:sp>
    </p:spTree>
    <p:extLst>
      <p:ext uri="{BB962C8B-B14F-4D97-AF65-F5344CB8AC3E}">
        <p14:creationId xmlns:p14="http://schemas.microsoft.com/office/powerpoint/2010/main" val="17026507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1B9DD330-543A-4594-B84E-BE963B41153A}" type="slidenum">
              <a:rPr lang="nl-NL" smtClean="0"/>
              <a:t>11</a:t>
            </a:fld>
            <a:endParaRPr lang="nl-NL"/>
          </a:p>
        </p:txBody>
      </p:sp>
    </p:spTree>
    <p:extLst>
      <p:ext uri="{BB962C8B-B14F-4D97-AF65-F5344CB8AC3E}">
        <p14:creationId xmlns:p14="http://schemas.microsoft.com/office/powerpoint/2010/main" val="114392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whi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5CF6DA-E7D7-4E18-9862-DBC8881EE8B0}"/>
              </a:ext>
            </a:extLst>
          </p:cNvPr>
          <p:cNvGraphicFramePr>
            <a:graphicFrameLocks noChangeAspect="1"/>
          </p:cNvGraphicFramePr>
          <p:nvPr userDrawn="1">
            <p:custDataLst>
              <p:tags r:id="rId1"/>
            </p:custDataLst>
            <p:extLst>
              <p:ext uri="{D42A27DB-BD31-4B8C-83A1-F6EECF244321}">
                <p14:modId xmlns:p14="http://schemas.microsoft.com/office/powerpoint/2010/main" val="459398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F55CF6DA-E7D7-4E18-9862-DBC8881EE8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5" name="Tijdelijke aanduiding voor afbeelding 44">
            <a:extLst>
              <a:ext uri="{FF2B5EF4-FFF2-40B4-BE49-F238E27FC236}">
                <a16:creationId xmlns:a16="http://schemas.microsoft.com/office/drawing/2014/main" id="{EE874A20-F490-4D8C-B40B-B279CEF7CFE0}"/>
              </a:ext>
            </a:extLst>
          </p:cNvPr>
          <p:cNvSpPr>
            <a:spLocks noGrp="1"/>
          </p:cNvSpPr>
          <p:nvPr>
            <p:ph type="pic" sz="quarter" idx="10" hasCustomPrompt="1"/>
          </p:nvPr>
        </p:nvSpPr>
        <p:spPr>
          <a:xfrm>
            <a:off x="0" y="0"/>
            <a:ext cx="12192000" cy="6858000"/>
          </a:xfrm>
          <a:custGeom>
            <a:avLst/>
            <a:gdLst>
              <a:gd name="connsiteX0" fmla="*/ 11234738 w 12192000"/>
              <a:gd name="connsiteY0" fmla="*/ 660400 h 6858000"/>
              <a:gd name="connsiteX1" fmla="*/ 11234738 w 12192000"/>
              <a:gd name="connsiteY1" fmla="*/ 702054 h 6858000"/>
              <a:gd name="connsiteX2" fmla="*/ 11217593 w 12192000"/>
              <a:gd name="connsiteY2" fmla="*/ 706438 h 6858000"/>
              <a:gd name="connsiteX3" fmla="*/ 11191875 w 12192000"/>
              <a:gd name="connsiteY3" fmla="*/ 684515 h 6858000"/>
              <a:gd name="connsiteX4" fmla="*/ 11234738 w 12192000"/>
              <a:gd name="connsiteY4" fmla="*/ 660400 h 6858000"/>
              <a:gd name="connsiteX5" fmla="*/ 11038328 w 12192000"/>
              <a:gd name="connsiteY5" fmla="*/ 609687 h 6858000"/>
              <a:gd name="connsiteX6" fmla="*/ 11069638 w 12192000"/>
              <a:gd name="connsiteY6" fmla="*/ 658327 h 6858000"/>
              <a:gd name="connsiteX7" fmla="*/ 11028164 w 12192000"/>
              <a:gd name="connsiteY7" fmla="*/ 706794 h 6858000"/>
              <a:gd name="connsiteX8" fmla="*/ 11017250 w 12192000"/>
              <a:gd name="connsiteY8" fmla="*/ 704591 h 6858000"/>
              <a:gd name="connsiteX9" fmla="*/ 11017250 w 12192000"/>
              <a:gd name="connsiteY9" fmla="*/ 612062 h 6858000"/>
              <a:gd name="connsiteX10" fmla="*/ 11032530 w 12192000"/>
              <a:gd name="connsiteY10" fmla="*/ 609859 h 6858000"/>
              <a:gd name="connsiteX11" fmla="*/ 11038328 w 12192000"/>
              <a:gd name="connsiteY11" fmla="*/ 609687 h 6858000"/>
              <a:gd name="connsiteX12" fmla="*/ 11226205 w 12192000"/>
              <a:gd name="connsiteY12" fmla="*/ 574675 h 6858000"/>
              <a:gd name="connsiteX13" fmla="*/ 11158538 w 12192000"/>
              <a:gd name="connsiteY13" fmla="*/ 585723 h 6858000"/>
              <a:gd name="connsiteX14" fmla="*/ 11158538 w 12192000"/>
              <a:gd name="connsiteY14" fmla="*/ 610029 h 6858000"/>
              <a:gd name="connsiteX15" fmla="*/ 11204377 w 12192000"/>
              <a:gd name="connsiteY15" fmla="*/ 605610 h 6858000"/>
              <a:gd name="connsiteX16" fmla="*/ 11234936 w 12192000"/>
              <a:gd name="connsiteY16" fmla="*/ 621077 h 6858000"/>
              <a:gd name="connsiteX17" fmla="*/ 11234936 w 12192000"/>
              <a:gd name="connsiteY17" fmla="*/ 638755 h 6858000"/>
              <a:gd name="connsiteX18" fmla="*/ 11145441 w 12192000"/>
              <a:gd name="connsiteY18" fmla="*/ 689576 h 6858000"/>
              <a:gd name="connsiteX19" fmla="*/ 11193462 w 12192000"/>
              <a:gd name="connsiteY19" fmla="*/ 738188 h 6858000"/>
              <a:gd name="connsiteX20" fmla="*/ 11237119 w 12192000"/>
              <a:gd name="connsiteY20" fmla="*/ 724930 h 6858000"/>
              <a:gd name="connsiteX21" fmla="*/ 11237119 w 12192000"/>
              <a:gd name="connsiteY21" fmla="*/ 735978 h 6858000"/>
              <a:gd name="connsiteX22" fmla="*/ 11280775 w 12192000"/>
              <a:gd name="connsiteY22" fmla="*/ 735978 h 6858000"/>
              <a:gd name="connsiteX23" fmla="*/ 11280775 w 12192000"/>
              <a:gd name="connsiteY23" fmla="*/ 629916 h 6858000"/>
              <a:gd name="connsiteX24" fmla="*/ 11226205 w 12192000"/>
              <a:gd name="connsiteY24" fmla="*/ 574675 h 6858000"/>
              <a:gd name="connsiteX25" fmla="*/ 11418873 w 12192000"/>
              <a:gd name="connsiteY25" fmla="*/ 573088 h 6858000"/>
              <a:gd name="connsiteX26" fmla="*/ 11368874 w 12192000"/>
              <a:gd name="connsiteY26" fmla="*/ 586185 h 6858000"/>
              <a:gd name="connsiteX27" fmla="*/ 11368874 w 12192000"/>
              <a:gd name="connsiteY27" fmla="*/ 575271 h 6858000"/>
              <a:gd name="connsiteX28" fmla="*/ 11318875 w 12192000"/>
              <a:gd name="connsiteY28" fmla="*/ 575271 h 6858000"/>
              <a:gd name="connsiteX29" fmla="*/ 11318875 w 12192000"/>
              <a:gd name="connsiteY29" fmla="*/ 730250 h 6858000"/>
              <a:gd name="connsiteX30" fmla="*/ 11368874 w 12192000"/>
              <a:gd name="connsiteY30" fmla="*/ 730250 h 6858000"/>
              <a:gd name="connsiteX31" fmla="*/ 11368874 w 12192000"/>
              <a:gd name="connsiteY31" fmla="*/ 610196 h 6858000"/>
              <a:gd name="connsiteX32" fmla="*/ 11390613 w 12192000"/>
              <a:gd name="connsiteY32" fmla="*/ 608013 h 6858000"/>
              <a:gd name="connsiteX33" fmla="*/ 11414525 w 12192000"/>
              <a:gd name="connsiteY33" fmla="*/ 623293 h 6858000"/>
              <a:gd name="connsiteX34" fmla="*/ 11414525 w 12192000"/>
              <a:gd name="connsiteY34" fmla="*/ 730250 h 6858000"/>
              <a:gd name="connsiteX35" fmla="*/ 11464525 w 12192000"/>
              <a:gd name="connsiteY35" fmla="*/ 730250 h 6858000"/>
              <a:gd name="connsiteX36" fmla="*/ 11464525 w 12192000"/>
              <a:gd name="connsiteY36" fmla="*/ 621110 h 6858000"/>
              <a:gd name="connsiteX37" fmla="*/ 11462351 w 12192000"/>
              <a:gd name="connsiteY37" fmla="*/ 610196 h 6858000"/>
              <a:gd name="connsiteX38" fmla="*/ 11486263 w 12192000"/>
              <a:gd name="connsiteY38" fmla="*/ 608013 h 6858000"/>
              <a:gd name="connsiteX39" fmla="*/ 11510176 w 12192000"/>
              <a:gd name="connsiteY39" fmla="*/ 623293 h 6858000"/>
              <a:gd name="connsiteX40" fmla="*/ 11510176 w 12192000"/>
              <a:gd name="connsiteY40" fmla="*/ 730250 h 6858000"/>
              <a:gd name="connsiteX41" fmla="*/ 11560175 w 12192000"/>
              <a:gd name="connsiteY41" fmla="*/ 730250 h 6858000"/>
              <a:gd name="connsiteX42" fmla="*/ 11560175 w 12192000"/>
              <a:gd name="connsiteY42" fmla="*/ 621110 h 6858000"/>
              <a:gd name="connsiteX43" fmla="*/ 11514524 w 12192000"/>
              <a:gd name="connsiteY43" fmla="*/ 573088 h 6858000"/>
              <a:gd name="connsiteX44" fmla="*/ 11451481 w 12192000"/>
              <a:gd name="connsiteY44" fmla="*/ 586185 h 6858000"/>
              <a:gd name="connsiteX45" fmla="*/ 11418873 w 12192000"/>
              <a:gd name="connsiteY45" fmla="*/ 573088 h 6858000"/>
              <a:gd name="connsiteX46" fmla="*/ 10966450 w 12192000"/>
              <a:gd name="connsiteY46" fmla="*/ 500063 h 6858000"/>
              <a:gd name="connsiteX47" fmla="*/ 10966450 w 12192000"/>
              <a:gd name="connsiteY47" fmla="*/ 727164 h 6858000"/>
              <a:gd name="connsiteX48" fmla="*/ 11030245 w 12192000"/>
              <a:gd name="connsiteY48" fmla="*/ 738188 h 6858000"/>
              <a:gd name="connsiteX49" fmla="*/ 11120438 w 12192000"/>
              <a:gd name="connsiteY49" fmla="*/ 649994 h 6858000"/>
              <a:gd name="connsiteX50" fmla="*/ 11058843 w 12192000"/>
              <a:gd name="connsiteY50" fmla="*/ 575028 h 6858000"/>
              <a:gd name="connsiteX51" fmla="*/ 11017046 w 12192000"/>
              <a:gd name="connsiteY51" fmla="*/ 588258 h 6858000"/>
              <a:gd name="connsiteX52" fmla="*/ 11017046 w 12192000"/>
              <a:gd name="connsiteY52" fmla="*/ 500063 h 6858000"/>
              <a:gd name="connsiteX53" fmla="*/ 10966450 w 12192000"/>
              <a:gd name="connsiteY53" fmla="*/ 500063 h 6858000"/>
              <a:gd name="connsiteX54" fmla="*/ 10783888 w 12192000"/>
              <a:gd name="connsiteY54" fmla="*/ 496888 h 6858000"/>
              <a:gd name="connsiteX55" fmla="*/ 10742612 w 12192000"/>
              <a:gd name="connsiteY55" fmla="*/ 515938 h 6858000"/>
              <a:gd name="connsiteX56" fmla="*/ 10820400 w 12192000"/>
              <a:gd name="connsiteY56" fmla="*/ 530226 h 6858000"/>
              <a:gd name="connsiteX57" fmla="*/ 10799762 w 12192000"/>
              <a:gd name="connsiteY57" fmla="*/ 603250 h 6858000"/>
              <a:gd name="connsiteX58" fmla="*/ 10779125 w 12192000"/>
              <a:gd name="connsiteY58" fmla="*/ 596900 h 6858000"/>
              <a:gd name="connsiteX59" fmla="*/ 10790238 w 12192000"/>
              <a:gd name="connsiteY59" fmla="*/ 549276 h 6858000"/>
              <a:gd name="connsiteX60" fmla="*/ 10707688 w 12192000"/>
              <a:gd name="connsiteY60" fmla="*/ 531813 h 6858000"/>
              <a:gd name="connsiteX61" fmla="*/ 10655300 w 12192000"/>
              <a:gd name="connsiteY61" fmla="*/ 555625 h 6858000"/>
              <a:gd name="connsiteX62" fmla="*/ 10742612 w 12192000"/>
              <a:gd name="connsiteY62" fmla="*/ 579438 h 6858000"/>
              <a:gd name="connsiteX63" fmla="*/ 10726738 w 12192000"/>
              <a:gd name="connsiteY63" fmla="*/ 669925 h 6858000"/>
              <a:gd name="connsiteX64" fmla="*/ 10699750 w 12192000"/>
              <a:gd name="connsiteY64" fmla="*/ 655638 h 6858000"/>
              <a:gd name="connsiteX65" fmla="*/ 10702925 w 12192000"/>
              <a:gd name="connsiteY65" fmla="*/ 603250 h 6858000"/>
              <a:gd name="connsiteX66" fmla="*/ 10614025 w 12192000"/>
              <a:gd name="connsiteY66" fmla="*/ 573088 h 6858000"/>
              <a:gd name="connsiteX67" fmla="*/ 10525125 w 12192000"/>
              <a:gd name="connsiteY67" fmla="*/ 612775 h 6858000"/>
              <a:gd name="connsiteX68" fmla="*/ 10617200 w 12192000"/>
              <a:gd name="connsiteY68" fmla="*/ 658813 h 6858000"/>
              <a:gd name="connsiteX69" fmla="*/ 10623550 w 12192000"/>
              <a:gd name="connsiteY69" fmla="*/ 760413 h 6858000"/>
              <a:gd name="connsiteX70" fmla="*/ 10660062 w 12192000"/>
              <a:gd name="connsiteY70" fmla="*/ 730250 h 6858000"/>
              <a:gd name="connsiteX71" fmla="*/ 10761662 w 12192000"/>
              <a:gd name="connsiteY71" fmla="*/ 793750 h 6858000"/>
              <a:gd name="connsiteX72" fmla="*/ 10902950 w 12192000"/>
              <a:gd name="connsiteY72" fmla="*/ 593725 h 6858000"/>
              <a:gd name="connsiteX73" fmla="*/ 10831512 w 12192000"/>
              <a:gd name="connsiteY73" fmla="*/ 576263 h 6858000"/>
              <a:gd name="connsiteX74" fmla="*/ 10853738 w 12192000"/>
              <a:gd name="connsiteY74" fmla="*/ 508001 h 6858000"/>
              <a:gd name="connsiteX75" fmla="*/ 0 w 12192000"/>
              <a:gd name="connsiteY75" fmla="*/ 0 h 6858000"/>
              <a:gd name="connsiteX76" fmla="*/ 12192000 w 12192000"/>
              <a:gd name="connsiteY76" fmla="*/ 0 h 6858000"/>
              <a:gd name="connsiteX77" fmla="*/ 12192000 w 12192000"/>
              <a:gd name="connsiteY77" fmla="*/ 6858000 h 6858000"/>
              <a:gd name="connsiteX78" fmla="*/ 0 w 12192000"/>
              <a:gd name="connsiteY7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2192000" h="6858000">
                <a:moveTo>
                  <a:pt x="11234738" y="660400"/>
                </a:moveTo>
                <a:cubicBezTo>
                  <a:pt x="11234738" y="702054"/>
                  <a:pt x="11234738" y="702054"/>
                  <a:pt x="11234738" y="702054"/>
                </a:cubicBezTo>
                <a:cubicBezTo>
                  <a:pt x="11232595" y="704246"/>
                  <a:pt x="11226165" y="706438"/>
                  <a:pt x="11217593" y="706438"/>
                </a:cubicBezTo>
                <a:cubicBezTo>
                  <a:pt x="11202591" y="706438"/>
                  <a:pt x="11191875" y="699861"/>
                  <a:pt x="11191875" y="684515"/>
                </a:cubicBezTo>
                <a:cubicBezTo>
                  <a:pt x="11191875" y="671362"/>
                  <a:pt x="11198304" y="662592"/>
                  <a:pt x="11234738" y="660400"/>
                </a:cubicBezTo>
                <a:close/>
                <a:moveTo>
                  <a:pt x="11038328" y="609687"/>
                </a:moveTo>
                <a:cubicBezTo>
                  <a:pt x="11048765" y="610410"/>
                  <a:pt x="11069638" y="617019"/>
                  <a:pt x="11069638" y="658327"/>
                </a:cubicBezTo>
                <a:cubicBezTo>
                  <a:pt x="11069638" y="711200"/>
                  <a:pt x="11028164" y="706794"/>
                  <a:pt x="11028164" y="706794"/>
                </a:cubicBezTo>
                <a:cubicBezTo>
                  <a:pt x="11025981" y="706794"/>
                  <a:pt x="11019433" y="706794"/>
                  <a:pt x="11017250" y="704591"/>
                </a:cubicBezTo>
                <a:cubicBezTo>
                  <a:pt x="11017250" y="612062"/>
                  <a:pt x="11017250" y="612062"/>
                  <a:pt x="11017250" y="612062"/>
                </a:cubicBezTo>
                <a:cubicBezTo>
                  <a:pt x="11023798" y="609859"/>
                  <a:pt x="11032530" y="609859"/>
                  <a:pt x="11032530" y="609859"/>
                </a:cubicBezTo>
                <a:cubicBezTo>
                  <a:pt x="11032530" y="609859"/>
                  <a:pt x="11034849" y="609446"/>
                  <a:pt x="11038328" y="609687"/>
                </a:cubicBezTo>
                <a:close/>
                <a:moveTo>
                  <a:pt x="11226205" y="574675"/>
                </a:moveTo>
                <a:cubicBezTo>
                  <a:pt x="11197828" y="574675"/>
                  <a:pt x="11158538" y="585723"/>
                  <a:pt x="11158538" y="585723"/>
                </a:cubicBezTo>
                <a:cubicBezTo>
                  <a:pt x="11158538" y="610029"/>
                  <a:pt x="11158538" y="610029"/>
                  <a:pt x="11158538" y="610029"/>
                </a:cubicBezTo>
                <a:cubicBezTo>
                  <a:pt x="11158538" y="610029"/>
                  <a:pt x="11176000" y="607820"/>
                  <a:pt x="11204377" y="605610"/>
                </a:cubicBezTo>
                <a:cubicBezTo>
                  <a:pt x="11234936" y="603400"/>
                  <a:pt x="11234936" y="621077"/>
                  <a:pt x="11234936" y="621077"/>
                </a:cubicBezTo>
                <a:cubicBezTo>
                  <a:pt x="11234936" y="638755"/>
                  <a:pt x="11234936" y="638755"/>
                  <a:pt x="11234936" y="638755"/>
                </a:cubicBezTo>
                <a:cubicBezTo>
                  <a:pt x="11224022" y="636545"/>
                  <a:pt x="11141075" y="632126"/>
                  <a:pt x="11145441" y="689576"/>
                </a:cubicBezTo>
                <a:cubicBezTo>
                  <a:pt x="11145441" y="689576"/>
                  <a:pt x="11143258" y="738188"/>
                  <a:pt x="11193462" y="738188"/>
                </a:cubicBezTo>
                <a:cubicBezTo>
                  <a:pt x="11193462" y="738188"/>
                  <a:pt x="11215291" y="738188"/>
                  <a:pt x="11237119" y="724930"/>
                </a:cubicBezTo>
                <a:cubicBezTo>
                  <a:pt x="11237119" y="735978"/>
                  <a:pt x="11237119" y="735978"/>
                  <a:pt x="11237119" y="735978"/>
                </a:cubicBezTo>
                <a:cubicBezTo>
                  <a:pt x="11280775" y="735978"/>
                  <a:pt x="11280775" y="735978"/>
                  <a:pt x="11280775" y="735978"/>
                </a:cubicBezTo>
                <a:cubicBezTo>
                  <a:pt x="11280775" y="735978"/>
                  <a:pt x="11280775" y="676318"/>
                  <a:pt x="11280775" y="629916"/>
                </a:cubicBezTo>
                <a:cubicBezTo>
                  <a:pt x="11280775" y="583514"/>
                  <a:pt x="11252398" y="574675"/>
                  <a:pt x="11226205" y="574675"/>
                </a:cubicBezTo>
                <a:close/>
                <a:moveTo>
                  <a:pt x="11418873" y="573088"/>
                </a:moveTo>
                <a:cubicBezTo>
                  <a:pt x="11401482" y="573088"/>
                  <a:pt x="11377570" y="581819"/>
                  <a:pt x="11368874" y="586185"/>
                </a:cubicBezTo>
                <a:cubicBezTo>
                  <a:pt x="11368874" y="575271"/>
                  <a:pt x="11368874" y="575271"/>
                  <a:pt x="11368874" y="575271"/>
                </a:cubicBezTo>
                <a:cubicBezTo>
                  <a:pt x="11318875" y="575271"/>
                  <a:pt x="11318875" y="575271"/>
                  <a:pt x="11318875" y="575271"/>
                </a:cubicBezTo>
                <a:cubicBezTo>
                  <a:pt x="11318875" y="730250"/>
                  <a:pt x="11318875" y="730250"/>
                  <a:pt x="11318875" y="730250"/>
                </a:cubicBezTo>
                <a:cubicBezTo>
                  <a:pt x="11368874" y="730250"/>
                  <a:pt x="11368874" y="730250"/>
                  <a:pt x="11368874" y="730250"/>
                </a:cubicBezTo>
                <a:cubicBezTo>
                  <a:pt x="11368874" y="610196"/>
                  <a:pt x="11368874" y="610196"/>
                  <a:pt x="11368874" y="610196"/>
                </a:cubicBezTo>
                <a:cubicBezTo>
                  <a:pt x="11375396" y="608013"/>
                  <a:pt x="11390613" y="608013"/>
                  <a:pt x="11390613" y="608013"/>
                </a:cubicBezTo>
                <a:cubicBezTo>
                  <a:pt x="11416699" y="608013"/>
                  <a:pt x="11414525" y="623293"/>
                  <a:pt x="11414525" y="623293"/>
                </a:cubicBezTo>
                <a:cubicBezTo>
                  <a:pt x="11414525" y="730250"/>
                  <a:pt x="11414525" y="730250"/>
                  <a:pt x="11414525" y="730250"/>
                </a:cubicBezTo>
                <a:cubicBezTo>
                  <a:pt x="11464525" y="730250"/>
                  <a:pt x="11464525" y="730250"/>
                  <a:pt x="11464525" y="730250"/>
                </a:cubicBezTo>
                <a:cubicBezTo>
                  <a:pt x="11464525" y="730250"/>
                  <a:pt x="11464525" y="653852"/>
                  <a:pt x="11464525" y="621110"/>
                </a:cubicBezTo>
                <a:cubicBezTo>
                  <a:pt x="11464525" y="616744"/>
                  <a:pt x="11464525" y="612379"/>
                  <a:pt x="11462351" y="610196"/>
                </a:cubicBezTo>
                <a:cubicBezTo>
                  <a:pt x="11473220" y="608013"/>
                  <a:pt x="11486263" y="608013"/>
                  <a:pt x="11486263" y="608013"/>
                </a:cubicBezTo>
                <a:cubicBezTo>
                  <a:pt x="11512350" y="608013"/>
                  <a:pt x="11510176" y="623293"/>
                  <a:pt x="11510176" y="623293"/>
                </a:cubicBezTo>
                <a:cubicBezTo>
                  <a:pt x="11510176" y="730250"/>
                  <a:pt x="11510176" y="730250"/>
                  <a:pt x="11510176" y="730250"/>
                </a:cubicBezTo>
                <a:cubicBezTo>
                  <a:pt x="11560175" y="730250"/>
                  <a:pt x="11560175" y="730250"/>
                  <a:pt x="11560175" y="730250"/>
                </a:cubicBezTo>
                <a:cubicBezTo>
                  <a:pt x="11560175" y="730250"/>
                  <a:pt x="11560175" y="653852"/>
                  <a:pt x="11560175" y="621110"/>
                </a:cubicBezTo>
                <a:cubicBezTo>
                  <a:pt x="11560175" y="586185"/>
                  <a:pt x="11536262" y="573088"/>
                  <a:pt x="11514524" y="573088"/>
                </a:cubicBezTo>
                <a:cubicBezTo>
                  <a:pt x="11486263" y="573088"/>
                  <a:pt x="11458003" y="584002"/>
                  <a:pt x="11451481" y="586185"/>
                </a:cubicBezTo>
                <a:cubicBezTo>
                  <a:pt x="11442786" y="577454"/>
                  <a:pt x="11429743" y="573088"/>
                  <a:pt x="11418873" y="573088"/>
                </a:cubicBezTo>
                <a:close/>
                <a:moveTo>
                  <a:pt x="10966450" y="500063"/>
                </a:moveTo>
                <a:cubicBezTo>
                  <a:pt x="10966450" y="727164"/>
                  <a:pt x="10966450" y="727164"/>
                  <a:pt x="10966450" y="727164"/>
                </a:cubicBezTo>
                <a:cubicBezTo>
                  <a:pt x="10966450" y="727164"/>
                  <a:pt x="11001647" y="738188"/>
                  <a:pt x="11030245" y="738188"/>
                </a:cubicBezTo>
                <a:cubicBezTo>
                  <a:pt x="11058843" y="738188"/>
                  <a:pt x="11120438" y="724959"/>
                  <a:pt x="11120438" y="649994"/>
                </a:cubicBezTo>
                <a:cubicBezTo>
                  <a:pt x="11120438" y="575028"/>
                  <a:pt x="11061043" y="575028"/>
                  <a:pt x="11058843" y="575028"/>
                </a:cubicBezTo>
                <a:cubicBezTo>
                  <a:pt x="11056643" y="575028"/>
                  <a:pt x="11041244" y="575028"/>
                  <a:pt x="11017046" y="588258"/>
                </a:cubicBezTo>
                <a:cubicBezTo>
                  <a:pt x="11017046" y="500063"/>
                  <a:pt x="11017046" y="500063"/>
                  <a:pt x="11017046" y="500063"/>
                </a:cubicBezTo>
                <a:cubicBezTo>
                  <a:pt x="10966450" y="500063"/>
                  <a:pt x="10966450" y="500063"/>
                  <a:pt x="10966450" y="500063"/>
                </a:cubicBezTo>
                <a:close/>
                <a:moveTo>
                  <a:pt x="10783888" y="496888"/>
                </a:moveTo>
                <a:lnTo>
                  <a:pt x="10742612" y="515938"/>
                </a:lnTo>
                <a:lnTo>
                  <a:pt x="10820400" y="530226"/>
                </a:lnTo>
                <a:lnTo>
                  <a:pt x="10799762" y="603250"/>
                </a:lnTo>
                <a:lnTo>
                  <a:pt x="10779125" y="596900"/>
                </a:lnTo>
                <a:lnTo>
                  <a:pt x="10790238" y="549276"/>
                </a:lnTo>
                <a:lnTo>
                  <a:pt x="10707688" y="531813"/>
                </a:lnTo>
                <a:lnTo>
                  <a:pt x="10655300" y="555625"/>
                </a:lnTo>
                <a:lnTo>
                  <a:pt x="10742612" y="579438"/>
                </a:lnTo>
                <a:lnTo>
                  <a:pt x="10726738" y="669925"/>
                </a:lnTo>
                <a:lnTo>
                  <a:pt x="10699750" y="655638"/>
                </a:lnTo>
                <a:lnTo>
                  <a:pt x="10702925" y="603250"/>
                </a:lnTo>
                <a:lnTo>
                  <a:pt x="10614025" y="573088"/>
                </a:lnTo>
                <a:lnTo>
                  <a:pt x="10525125" y="612775"/>
                </a:lnTo>
                <a:lnTo>
                  <a:pt x="10617200" y="658813"/>
                </a:lnTo>
                <a:lnTo>
                  <a:pt x="10623550" y="760413"/>
                </a:lnTo>
                <a:lnTo>
                  <a:pt x="10660062" y="730250"/>
                </a:lnTo>
                <a:lnTo>
                  <a:pt x="10761662" y="793750"/>
                </a:lnTo>
                <a:lnTo>
                  <a:pt x="10902950" y="593725"/>
                </a:lnTo>
                <a:lnTo>
                  <a:pt x="10831512" y="576263"/>
                </a:lnTo>
                <a:lnTo>
                  <a:pt x="10853738" y="508001"/>
                </a:lnTo>
                <a:close/>
                <a:moveTo>
                  <a:pt x="0" y="0"/>
                </a:moveTo>
                <a:lnTo>
                  <a:pt x="12192000" y="0"/>
                </a:lnTo>
                <a:lnTo>
                  <a:pt x="12192000" y="6858000"/>
                </a:lnTo>
                <a:lnTo>
                  <a:pt x="0" y="6858000"/>
                </a:lnTo>
                <a:close/>
              </a:path>
            </a:pathLst>
          </a:custGeom>
          <a:pattFill prst="ltUpDiag">
            <a:fgClr>
              <a:schemeClr val="accent5"/>
            </a:fgClr>
            <a:bgClr>
              <a:schemeClr val="bg1"/>
            </a:bgClr>
          </a:pattFill>
        </p:spPr>
        <p:txBody>
          <a:bodyPr wrap="square">
            <a:noAutofit/>
          </a:bodyPr>
          <a:lstStyle>
            <a:lvl1pPr marL="171450" marR="0" indent="-17145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GB" sz="1400" b="0">
                <a:solidFill>
                  <a:schemeClr val="tx1"/>
                </a:solidFill>
              </a:defRPr>
            </a:lvl1pPr>
          </a:lstStyle>
          <a:p>
            <a:pPr marL="171450" lvl="0" indent="-171450" algn="ctr"/>
            <a:r>
              <a:rPr lang="nl-NL" noProof="0" dirty="0"/>
              <a:t>Klik op het pictogram om een afbeelding in te voegen
</a:t>
            </a:r>
          </a:p>
        </p:txBody>
      </p:sp>
      <p:sp>
        <p:nvSpPr>
          <p:cNvPr id="7" name="AutoShape 3">
            <a:extLst>
              <a:ext uri="{FF2B5EF4-FFF2-40B4-BE49-F238E27FC236}">
                <a16:creationId xmlns:a16="http://schemas.microsoft.com/office/drawing/2014/main" id="{52BDF13A-D9A7-4A1F-BFDC-024C545B2E94}"/>
              </a:ext>
            </a:extLst>
          </p:cNvPr>
          <p:cNvSpPr>
            <a:spLocks noChangeAspect="1" noChangeArrowheads="1" noTextEdit="1"/>
          </p:cNvSpPr>
          <p:nvPr userDrawn="1"/>
        </p:nvSpPr>
        <p:spPr bwMode="auto">
          <a:xfrm>
            <a:off x="10515600" y="493713"/>
            <a:ext cx="1047750" cy="30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6" name="Vrije vorm: vorm 15">
            <a:extLst>
              <a:ext uri="{FF2B5EF4-FFF2-40B4-BE49-F238E27FC236}">
                <a16:creationId xmlns:a16="http://schemas.microsoft.com/office/drawing/2014/main" id="{BCE51412-F334-44F2-AAC3-AD684AF87F26}"/>
              </a:ext>
            </a:extLst>
          </p:cNvPr>
          <p:cNvSpPr/>
          <p:nvPr userDrawn="1"/>
        </p:nvSpPr>
        <p:spPr>
          <a:xfrm>
            <a:off x="7377811" y="0"/>
            <a:ext cx="4814189" cy="6867524"/>
          </a:xfrm>
          <a:custGeom>
            <a:avLst/>
            <a:gdLst>
              <a:gd name="connsiteX0" fmla="*/ 3855339 w 4814189"/>
              <a:gd name="connsiteY0" fmla="*/ 657226 h 6867524"/>
              <a:gd name="connsiteX1" fmla="*/ 3855339 w 4814189"/>
              <a:gd name="connsiteY1" fmla="*/ 700315 h 6867524"/>
              <a:gd name="connsiteX2" fmla="*/ 3837559 w 4814189"/>
              <a:gd name="connsiteY2" fmla="*/ 704851 h 6867524"/>
              <a:gd name="connsiteX3" fmla="*/ 3810889 w 4814189"/>
              <a:gd name="connsiteY3" fmla="*/ 682173 h 6867524"/>
              <a:gd name="connsiteX4" fmla="*/ 3855339 w 4814189"/>
              <a:gd name="connsiteY4" fmla="*/ 657226 h 6867524"/>
              <a:gd name="connsiteX5" fmla="*/ 3656394 w 4814189"/>
              <a:gd name="connsiteY5" fmla="*/ 606608 h 6867524"/>
              <a:gd name="connsiteX6" fmla="*/ 3688652 w 4814189"/>
              <a:gd name="connsiteY6" fmla="*/ 655963 h 6867524"/>
              <a:gd name="connsiteX7" fmla="*/ 3645922 w 4814189"/>
              <a:gd name="connsiteY7" fmla="*/ 705143 h 6867524"/>
              <a:gd name="connsiteX8" fmla="*/ 3634677 w 4814189"/>
              <a:gd name="connsiteY8" fmla="*/ 702908 h 6867524"/>
              <a:gd name="connsiteX9" fmla="*/ 3634677 w 4814189"/>
              <a:gd name="connsiteY9" fmla="*/ 609018 h 6867524"/>
              <a:gd name="connsiteX10" fmla="*/ 3650420 w 4814189"/>
              <a:gd name="connsiteY10" fmla="*/ 606783 h 6867524"/>
              <a:gd name="connsiteX11" fmla="*/ 3656394 w 4814189"/>
              <a:gd name="connsiteY11" fmla="*/ 606608 h 6867524"/>
              <a:gd name="connsiteX12" fmla="*/ 3848394 w 4814189"/>
              <a:gd name="connsiteY12" fmla="*/ 574675 h 6867524"/>
              <a:gd name="connsiteX13" fmla="*/ 3780727 w 4814189"/>
              <a:gd name="connsiteY13" fmla="*/ 585723 h 6867524"/>
              <a:gd name="connsiteX14" fmla="*/ 3780727 w 4814189"/>
              <a:gd name="connsiteY14" fmla="*/ 610029 h 6867524"/>
              <a:gd name="connsiteX15" fmla="*/ 3826566 w 4814189"/>
              <a:gd name="connsiteY15" fmla="*/ 605610 h 6867524"/>
              <a:gd name="connsiteX16" fmla="*/ 3857125 w 4814189"/>
              <a:gd name="connsiteY16" fmla="*/ 621077 h 6867524"/>
              <a:gd name="connsiteX17" fmla="*/ 3857125 w 4814189"/>
              <a:gd name="connsiteY17" fmla="*/ 638755 h 6867524"/>
              <a:gd name="connsiteX18" fmla="*/ 3767630 w 4814189"/>
              <a:gd name="connsiteY18" fmla="*/ 689576 h 6867524"/>
              <a:gd name="connsiteX19" fmla="*/ 3815651 w 4814189"/>
              <a:gd name="connsiteY19" fmla="*/ 738188 h 6867524"/>
              <a:gd name="connsiteX20" fmla="*/ 3859308 w 4814189"/>
              <a:gd name="connsiteY20" fmla="*/ 724930 h 6867524"/>
              <a:gd name="connsiteX21" fmla="*/ 3859308 w 4814189"/>
              <a:gd name="connsiteY21" fmla="*/ 735978 h 6867524"/>
              <a:gd name="connsiteX22" fmla="*/ 3902964 w 4814189"/>
              <a:gd name="connsiteY22" fmla="*/ 735978 h 6867524"/>
              <a:gd name="connsiteX23" fmla="*/ 3902964 w 4814189"/>
              <a:gd name="connsiteY23" fmla="*/ 629916 h 6867524"/>
              <a:gd name="connsiteX24" fmla="*/ 3848394 w 4814189"/>
              <a:gd name="connsiteY24" fmla="*/ 574675 h 6867524"/>
              <a:gd name="connsiteX25" fmla="*/ 4041062 w 4814189"/>
              <a:gd name="connsiteY25" fmla="*/ 573088 h 6867524"/>
              <a:gd name="connsiteX26" fmla="*/ 3991063 w 4814189"/>
              <a:gd name="connsiteY26" fmla="*/ 586185 h 6867524"/>
              <a:gd name="connsiteX27" fmla="*/ 3991063 w 4814189"/>
              <a:gd name="connsiteY27" fmla="*/ 575271 h 6867524"/>
              <a:gd name="connsiteX28" fmla="*/ 3941064 w 4814189"/>
              <a:gd name="connsiteY28" fmla="*/ 575271 h 6867524"/>
              <a:gd name="connsiteX29" fmla="*/ 3941064 w 4814189"/>
              <a:gd name="connsiteY29" fmla="*/ 730250 h 6867524"/>
              <a:gd name="connsiteX30" fmla="*/ 3991063 w 4814189"/>
              <a:gd name="connsiteY30" fmla="*/ 730250 h 6867524"/>
              <a:gd name="connsiteX31" fmla="*/ 3991063 w 4814189"/>
              <a:gd name="connsiteY31" fmla="*/ 610196 h 6867524"/>
              <a:gd name="connsiteX32" fmla="*/ 4012802 w 4814189"/>
              <a:gd name="connsiteY32" fmla="*/ 608013 h 6867524"/>
              <a:gd name="connsiteX33" fmla="*/ 4036714 w 4814189"/>
              <a:gd name="connsiteY33" fmla="*/ 623293 h 6867524"/>
              <a:gd name="connsiteX34" fmla="*/ 4036714 w 4814189"/>
              <a:gd name="connsiteY34" fmla="*/ 730250 h 6867524"/>
              <a:gd name="connsiteX35" fmla="*/ 4086714 w 4814189"/>
              <a:gd name="connsiteY35" fmla="*/ 730250 h 6867524"/>
              <a:gd name="connsiteX36" fmla="*/ 4086714 w 4814189"/>
              <a:gd name="connsiteY36" fmla="*/ 621110 h 6867524"/>
              <a:gd name="connsiteX37" fmla="*/ 4084540 w 4814189"/>
              <a:gd name="connsiteY37" fmla="*/ 610196 h 6867524"/>
              <a:gd name="connsiteX38" fmla="*/ 4108452 w 4814189"/>
              <a:gd name="connsiteY38" fmla="*/ 608013 h 6867524"/>
              <a:gd name="connsiteX39" fmla="*/ 4132365 w 4814189"/>
              <a:gd name="connsiteY39" fmla="*/ 623293 h 6867524"/>
              <a:gd name="connsiteX40" fmla="*/ 4132365 w 4814189"/>
              <a:gd name="connsiteY40" fmla="*/ 730250 h 6867524"/>
              <a:gd name="connsiteX41" fmla="*/ 4182364 w 4814189"/>
              <a:gd name="connsiteY41" fmla="*/ 730250 h 6867524"/>
              <a:gd name="connsiteX42" fmla="*/ 4182364 w 4814189"/>
              <a:gd name="connsiteY42" fmla="*/ 621110 h 6867524"/>
              <a:gd name="connsiteX43" fmla="*/ 4136713 w 4814189"/>
              <a:gd name="connsiteY43" fmla="*/ 573088 h 6867524"/>
              <a:gd name="connsiteX44" fmla="*/ 4073670 w 4814189"/>
              <a:gd name="connsiteY44" fmla="*/ 586185 h 6867524"/>
              <a:gd name="connsiteX45" fmla="*/ 4041062 w 4814189"/>
              <a:gd name="connsiteY45" fmla="*/ 573088 h 6867524"/>
              <a:gd name="connsiteX46" fmla="*/ 3588639 w 4814189"/>
              <a:gd name="connsiteY46" fmla="*/ 500063 h 6867524"/>
              <a:gd name="connsiteX47" fmla="*/ 3588639 w 4814189"/>
              <a:gd name="connsiteY47" fmla="*/ 727164 h 6867524"/>
              <a:gd name="connsiteX48" fmla="*/ 3652434 w 4814189"/>
              <a:gd name="connsiteY48" fmla="*/ 738188 h 6867524"/>
              <a:gd name="connsiteX49" fmla="*/ 3742627 w 4814189"/>
              <a:gd name="connsiteY49" fmla="*/ 649994 h 6867524"/>
              <a:gd name="connsiteX50" fmla="*/ 3681032 w 4814189"/>
              <a:gd name="connsiteY50" fmla="*/ 575028 h 6867524"/>
              <a:gd name="connsiteX51" fmla="*/ 3639235 w 4814189"/>
              <a:gd name="connsiteY51" fmla="*/ 588258 h 6867524"/>
              <a:gd name="connsiteX52" fmla="*/ 3639235 w 4814189"/>
              <a:gd name="connsiteY52" fmla="*/ 500063 h 6867524"/>
              <a:gd name="connsiteX53" fmla="*/ 3588639 w 4814189"/>
              <a:gd name="connsiteY53" fmla="*/ 500063 h 6867524"/>
              <a:gd name="connsiteX54" fmla="*/ 3927179 w 4814189"/>
              <a:gd name="connsiteY54" fmla="*/ 0 h 6867524"/>
              <a:gd name="connsiteX55" fmla="*/ 4356989 w 4814189"/>
              <a:gd name="connsiteY55" fmla="*/ 1 h 6867524"/>
              <a:gd name="connsiteX56" fmla="*/ 4356989 w 4814189"/>
              <a:gd name="connsiteY56" fmla="*/ 0 h 6867524"/>
              <a:gd name="connsiteX57" fmla="*/ 4814189 w 4814189"/>
              <a:gd name="connsiteY57" fmla="*/ 0 h 6867524"/>
              <a:gd name="connsiteX58" fmla="*/ 4814189 w 4814189"/>
              <a:gd name="connsiteY58" fmla="*/ 6858000 h 6867524"/>
              <a:gd name="connsiteX59" fmla="*/ 4393184 w 4814189"/>
              <a:gd name="connsiteY59" fmla="*/ 6858000 h 6867524"/>
              <a:gd name="connsiteX60" fmla="*/ 4393184 w 4814189"/>
              <a:gd name="connsiteY60" fmla="*/ 6867524 h 6867524"/>
              <a:gd name="connsiteX61" fmla="*/ 1462191 w 4814189"/>
              <a:gd name="connsiteY61" fmla="*/ 6867524 h 6867524"/>
              <a:gd name="connsiteX62" fmla="*/ 0 w 4814189"/>
              <a:gd name="connsiteY62" fmla="*/ 5745131 h 6867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4814189" h="6867524">
                <a:moveTo>
                  <a:pt x="3855339" y="657226"/>
                </a:moveTo>
                <a:cubicBezTo>
                  <a:pt x="3855339" y="700315"/>
                  <a:pt x="3855339" y="700315"/>
                  <a:pt x="3855339" y="700315"/>
                </a:cubicBezTo>
                <a:cubicBezTo>
                  <a:pt x="3853117" y="702583"/>
                  <a:pt x="3846449" y="704851"/>
                  <a:pt x="3837559" y="704851"/>
                </a:cubicBezTo>
                <a:cubicBezTo>
                  <a:pt x="3822001" y="704851"/>
                  <a:pt x="3810889" y="698048"/>
                  <a:pt x="3810889" y="682173"/>
                </a:cubicBezTo>
                <a:cubicBezTo>
                  <a:pt x="3810889" y="668565"/>
                  <a:pt x="3817557" y="659494"/>
                  <a:pt x="3855339" y="657226"/>
                </a:cubicBezTo>
                <a:close/>
                <a:moveTo>
                  <a:pt x="3656394" y="606608"/>
                </a:moveTo>
                <a:cubicBezTo>
                  <a:pt x="3667146" y="607341"/>
                  <a:pt x="3688652" y="614048"/>
                  <a:pt x="3688652" y="655963"/>
                </a:cubicBezTo>
                <a:cubicBezTo>
                  <a:pt x="3688652" y="709614"/>
                  <a:pt x="3645922" y="705143"/>
                  <a:pt x="3645922" y="705143"/>
                </a:cubicBezTo>
                <a:cubicBezTo>
                  <a:pt x="3643673" y="705143"/>
                  <a:pt x="3636926" y="705143"/>
                  <a:pt x="3634677" y="702908"/>
                </a:cubicBezTo>
                <a:cubicBezTo>
                  <a:pt x="3634677" y="609018"/>
                  <a:pt x="3634677" y="609018"/>
                  <a:pt x="3634677" y="609018"/>
                </a:cubicBezTo>
                <a:cubicBezTo>
                  <a:pt x="3641424" y="606783"/>
                  <a:pt x="3650420" y="606783"/>
                  <a:pt x="3650420" y="606783"/>
                </a:cubicBezTo>
                <a:cubicBezTo>
                  <a:pt x="3650420" y="606783"/>
                  <a:pt x="3652809" y="606363"/>
                  <a:pt x="3656394" y="606608"/>
                </a:cubicBezTo>
                <a:close/>
                <a:moveTo>
                  <a:pt x="3848394" y="574675"/>
                </a:moveTo>
                <a:cubicBezTo>
                  <a:pt x="3820017" y="574675"/>
                  <a:pt x="3780727" y="585723"/>
                  <a:pt x="3780727" y="585723"/>
                </a:cubicBezTo>
                <a:cubicBezTo>
                  <a:pt x="3780727" y="610029"/>
                  <a:pt x="3780727" y="610029"/>
                  <a:pt x="3780727" y="610029"/>
                </a:cubicBezTo>
                <a:cubicBezTo>
                  <a:pt x="3780727" y="610029"/>
                  <a:pt x="3798189" y="607820"/>
                  <a:pt x="3826566" y="605610"/>
                </a:cubicBezTo>
                <a:cubicBezTo>
                  <a:pt x="3857125" y="603400"/>
                  <a:pt x="3857125" y="621077"/>
                  <a:pt x="3857125" y="621077"/>
                </a:cubicBezTo>
                <a:cubicBezTo>
                  <a:pt x="3857125" y="638755"/>
                  <a:pt x="3857125" y="638755"/>
                  <a:pt x="3857125" y="638755"/>
                </a:cubicBezTo>
                <a:cubicBezTo>
                  <a:pt x="3846211" y="636545"/>
                  <a:pt x="3763264" y="632126"/>
                  <a:pt x="3767630" y="689576"/>
                </a:cubicBezTo>
                <a:cubicBezTo>
                  <a:pt x="3767630" y="689576"/>
                  <a:pt x="3765447" y="738188"/>
                  <a:pt x="3815651" y="738188"/>
                </a:cubicBezTo>
                <a:cubicBezTo>
                  <a:pt x="3815651" y="738188"/>
                  <a:pt x="3837480" y="738188"/>
                  <a:pt x="3859308" y="724930"/>
                </a:cubicBezTo>
                <a:cubicBezTo>
                  <a:pt x="3859308" y="735978"/>
                  <a:pt x="3859308" y="735978"/>
                  <a:pt x="3859308" y="735978"/>
                </a:cubicBezTo>
                <a:cubicBezTo>
                  <a:pt x="3902964" y="735978"/>
                  <a:pt x="3902964" y="735978"/>
                  <a:pt x="3902964" y="735978"/>
                </a:cubicBezTo>
                <a:cubicBezTo>
                  <a:pt x="3902964" y="735978"/>
                  <a:pt x="3902964" y="676318"/>
                  <a:pt x="3902964" y="629916"/>
                </a:cubicBezTo>
                <a:cubicBezTo>
                  <a:pt x="3902964" y="583514"/>
                  <a:pt x="3874587" y="574675"/>
                  <a:pt x="3848394" y="574675"/>
                </a:cubicBezTo>
                <a:close/>
                <a:moveTo>
                  <a:pt x="4041062" y="573088"/>
                </a:moveTo>
                <a:cubicBezTo>
                  <a:pt x="4023671" y="573088"/>
                  <a:pt x="3999759" y="581819"/>
                  <a:pt x="3991063" y="586185"/>
                </a:cubicBezTo>
                <a:cubicBezTo>
                  <a:pt x="3991063" y="575271"/>
                  <a:pt x="3991063" y="575271"/>
                  <a:pt x="3991063" y="575271"/>
                </a:cubicBezTo>
                <a:cubicBezTo>
                  <a:pt x="3941064" y="575271"/>
                  <a:pt x="3941064" y="575271"/>
                  <a:pt x="3941064" y="575271"/>
                </a:cubicBezTo>
                <a:cubicBezTo>
                  <a:pt x="3941064" y="730250"/>
                  <a:pt x="3941064" y="730250"/>
                  <a:pt x="3941064" y="730250"/>
                </a:cubicBezTo>
                <a:cubicBezTo>
                  <a:pt x="3991063" y="730250"/>
                  <a:pt x="3991063" y="730250"/>
                  <a:pt x="3991063" y="730250"/>
                </a:cubicBezTo>
                <a:cubicBezTo>
                  <a:pt x="3991063" y="610196"/>
                  <a:pt x="3991063" y="610196"/>
                  <a:pt x="3991063" y="610196"/>
                </a:cubicBezTo>
                <a:cubicBezTo>
                  <a:pt x="3997585" y="608013"/>
                  <a:pt x="4012802" y="608013"/>
                  <a:pt x="4012802" y="608013"/>
                </a:cubicBezTo>
                <a:cubicBezTo>
                  <a:pt x="4038888" y="608013"/>
                  <a:pt x="4036714" y="623293"/>
                  <a:pt x="4036714" y="623293"/>
                </a:cubicBezTo>
                <a:cubicBezTo>
                  <a:pt x="4036714" y="730250"/>
                  <a:pt x="4036714" y="730250"/>
                  <a:pt x="4036714" y="730250"/>
                </a:cubicBezTo>
                <a:cubicBezTo>
                  <a:pt x="4086714" y="730250"/>
                  <a:pt x="4086714" y="730250"/>
                  <a:pt x="4086714" y="730250"/>
                </a:cubicBezTo>
                <a:cubicBezTo>
                  <a:pt x="4086714" y="730250"/>
                  <a:pt x="4086714" y="653852"/>
                  <a:pt x="4086714" y="621110"/>
                </a:cubicBezTo>
                <a:cubicBezTo>
                  <a:pt x="4086714" y="616744"/>
                  <a:pt x="4086714" y="612379"/>
                  <a:pt x="4084540" y="610196"/>
                </a:cubicBezTo>
                <a:cubicBezTo>
                  <a:pt x="4095409" y="608013"/>
                  <a:pt x="4108452" y="608013"/>
                  <a:pt x="4108452" y="608013"/>
                </a:cubicBezTo>
                <a:cubicBezTo>
                  <a:pt x="4134539" y="608013"/>
                  <a:pt x="4132365" y="623293"/>
                  <a:pt x="4132365" y="623293"/>
                </a:cubicBezTo>
                <a:cubicBezTo>
                  <a:pt x="4132365" y="730250"/>
                  <a:pt x="4132365" y="730250"/>
                  <a:pt x="4132365" y="730250"/>
                </a:cubicBezTo>
                <a:cubicBezTo>
                  <a:pt x="4182364" y="730250"/>
                  <a:pt x="4182364" y="730250"/>
                  <a:pt x="4182364" y="730250"/>
                </a:cubicBezTo>
                <a:cubicBezTo>
                  <a:pt x="4182364" y="730250"/>
                  <a:pt x="4182364" y="653852"/>
                  <a:pt x="4182364" y="621110"/>
                </a:cubicBezTo>
                <a:cubicBezTo>
                  <a:pt x="4182364" y="586185"/>
                  <a:pt x="4158451" y="573088"/>
                  <a:pt x="4136713" y="573088"/>
                </a:cubicBezTo>
                <a:cubicBezTo>
                  <a:pt x="4108452" y="573088"/>
                  <a:pt x="4080192" y="584002"/>
                  <a:pt x="4073670" y="586185"/>
                </a:cubicBezTo>
                <a:cubicBezTo>
                  <a:pt x="4064975" y="577454"/>
                  <a:pt x="4051932" y="573088"/>
                  <a:pt x="4041062" y="573088"/>
                </a:cubicBezTo>
                <a:close/>
                <a:moveTo>
                  <a:pt x="3588639" y="500063"/>
                </a:moveTo>
                <a:cubicBezTo>
                  <a:pt x="3588639" y="727164"/>
                  <a:pt x="3588639" y="727164"/>
                  <a:pt x="3588639" y="727164"/>
                </a:cubicBezTo>
                <a:cubicBezTo>
                  <a:pt x="3588639" y="727164"/>
                  <a:pt x="3623836" y="738188"/>
                  <a:pt x="3652434" y="738188"/>
                </a:cubicBezTo>
                <a:cubicBezTo>
                  <a:pt x="3681032" y="738188"/>
                  <a:pt x="3742627" y="724959"/>
                  <a:pt x="3742627" y="649994"/>
                </a:cubicBezTo>
                <a:cubicBezTo>
                  <a:pt x="3742627" y="575028"/>
                  <a:pt x="3683232" y="575028"/>
                  <a:pt x="3681032" y="575028"/>
                </a:cubicBezTo>
                <a:cubicBezTo>
                  <a:pt x="3678832" y="575028"/>
                  <a:pt x="3663433" y="575028"/>
                  <a:pt x="3639235" y="588258"/>
                </a:cubicBezTo>
                <a:cubicBezTo>
                  <a:pt x="3639235" y="500063"/>
                  <a:pt x="3639235" y="500063"/>
                  <a:pt x="3639235" y="500063"/>
                </a:cubicBezTo>
                <a:cubicBezTo>
                  <a:pt x="3588639" y="500063"/>
                  <a:pt x="3588639" y="500063"/>
                  <a:pt x="3588639" y="500063"/>
                </a:cubicBezTo>
                <a:close/>
                <a:moveTo>
                  <a:pt x="3927179" y="0"/>
                </a:moveTo>
                <a:lnTo>
                  <a:pt x="4356989" y="1"/>
                </a:lnTo>
                <a:lnTo>
                  <a:pt x="4356989" y="0"/>
                </a:lnTo>
                <a:lnTo>
                  <a:pt x="4814189" y="0"/>
                </a:lnTo>
                <a:lnTo>
                  <a:pt x="4814189" y="6858000"/>
                </a:lnTo>
                <a:lnTo>
                  <a:pt x="4393184" y="6858000"/>
                </a:lnTo>
                <a:lnTo>
                  <a:pt x="4393184" y="6867524"/>
                </a:lnTo>
                <a:lnTo>
                  <a:pt x="1462191" y="6867524"/>
                </a:lnTo>
                <a:lnTo>
                  <a:pt x="0" y="5745131"/>
                </a:lnTo>
                <a:close/>
              </a:path>
            </a:pathLst>
          </a:custGeom>
          <a:gradFill flip="none" rotWithShape="1">
            <a:gsLst>
              <a:gs pos="0">
                <a:schemeClr val="bg1">
                  <a:alpha val="0"/>
                </a:schemeClr>
              </a:gs>
              <a:gs pos="94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nl-NL" dirty="0">
              <a:solidFill>
                <a:srgbClr val="248D37"/>
              </a:solidFill>
            </a:endParaRPr>
          </a:p>
        </p:txBody>
      </p:sp>
      <p:sp>
        <p:nvSpPr>
          <p:cNvPr id="11" name="Text Placeholder 15">
            <a:extLst>
              <a:ext uri="{FF2B5EF4-FFF2-40B4-BE49-F238E27FC236}">
                <a16:creationId xmlns:a16="http://schemas.microsoft.com/office/drawing/2014/main" id="{C90A5E7B-9A96-4742-A663-C4D3029B0DE2}"/>
              </a:ext>
            </a:extLst>
          </p:cNvPr>
          <p:cNvSpPr>
            <a:spLocks noGrp="1"/>
          </p:cNvSpPr>
          <p:nvPr userDrawn="1">
            <p:ph type="body" sz="quarter" idx="11" hasCustomPrompt="1"/>
          </p:nvPr>
        </p:nvSpPr>
        <p:spPr>
          <a:xfrm>
            <a:off x="1514475" y="3629025"/>
            <a:ext cx="9010650" cy="1076325"/>
          </a:xfrm>
          <a:prstGeom prst="rect">
            <a:avLst/>
          </a:prstGeom>
        </p:spPr>
        <p:txBody>
          <a:bodyPr/>
          <a:lstStyle>
            <a:lvl1pPr marL="0" indent="0" rtl="0">
              <a:lnSpc>
                <a:spcPct val="100000"/>
              </a:lnSpc>
              <a:spcBef>
                <a:spcPts val="0"/>
              </a:spcBef>
              <a:spcAft>
                <a:spcPts val="0"/>
              </a:spcAft>
              <a:buNone/>
              <a:defRPr sz="3600" b="1">
                <a:solidFill>
                  <a:schemeClr val="bg1"/>
                </a:solidFill>
              </a:defRPr>
            </a:lvl1pPr>
            <a:lvl2pPr marL="0" indent="0" rtl="0">
              <a:lnSpc>
                <a:spcPct val="100000"/>
              </a:lnSpc>
              <a:spcBef>
                <a:spcPts val="0"/>
              </a:spcBef>
              <a:spcAft>
                <a:spcPts val="0"/>
              </a:spcAft>
              <a:buNone/>
              <a:defRPr sz="2800" b="0">
                <a:solidFill>
                  <a:schemeClr val="bg1"/>
                </a:solidFill>
              </a:defRPr>
            </a:lvl2pPr>
            <a:lvl3pPr marL="180975" indent="-180975">
              <a:lnSpc>
                <a:spcPct val="100000"/>
              </a:lnSpc>
              <a:spcBef>
                <a:spcPts val="1200"/>
              </a:spcBef>
              <a:buClr>
                <a:schemeClr val="accent2"/>
              </a:buClr>
              <a:buFont typeface="Arial" panose="020B0604020202020204" pitchFamily="34" charset="0"/>
              <a:buChar char="•"/>
              <a:defRPr sz="1800"/>
            </a:lvl3pPr>
            <a:lvl4pPr marL="0" indent="0">
              <a:lnSpc>
                <a:spcPct val="100000"/>
              </a:lnSpc>
              <a:spcBef>
                <a:spcPts val="1200"/>
              </a:spcBef>
              <a:buNone/>
              <a:defRPr b="1">
                <a:solidFill>
                  <a:schemeClr val="accent3"/>
                </a:solidFill>
              </a:defRPr>
            </a:lvl4pPr>
            <a:lvl5pPr marL="0" indent="0">
              <a:lnSpc>
                <a:spcPct val="100000"/>
              </a:lnSpc>
              <a:spcBef>
                <a:spcPts val="1200"/>
              </a:spcBef>
              <a:buNone/>
              <a:defRPr sz="1200"/>
            </a:lvl5pPr>
          </a:lstStyle>
          <a:p>
            <a:r>
              <a:rPr lang="nl-NL" noProof="0"/>
              <a:t>Titel presentatie</a:t>
            </a:r>
          </a:p>
          <a:p>
            <a:pPr lvl="1"/>
            <a:r>
              <a:rPr lang="nl-NL" noProof="0"/>
              <a:t>Subtitel</a:t>
            </a:r>
          </a:p>
        </p:txBody>
      </p:sp>
      <p:sp>
        <p:nvSpPr>
          <p:cNvPr id="5" name="Text Placeholder 4">
            <a:extLst>
              <a:ext uri="{FF2B5EF4-FFF2-40B4-BE49-F238E27FC236}">
                <a16:creationId xmlns:a16="http://schemas.microsoft.com/office/drawing/2014/main" id="{29A46D08-0023-4F07-B56A-C48AE36F0313}"/>
              </a:ext>
            </a:extLst>
          </p:cNvPr>
          <p:cNvSpPr>
            <a:spLocks noGrp="1"/>
          </p:cNvSpPr>
          <p:nvPr userDrawn="1">
            <p:ph type="body" sz="quarter" idx="12" hasCustomPrompt="1"/>
          </p:nvPr>
        </p:nvSpPr>
        <p:spPr>
          <a:xfrm>
            <a:off x="1514475" y="5000625"/>
            <a:ext cx="9010650" cy="781050"/>
          </a:xfrm>
          <a:prstGeom prst="rect">
            <a:avLst/>
          </a:prstGeom>
        </p:spPr>
        <p:txBody>
          <a:bodyPr/>
          <a:lstStyle>
            <a:lvl1pPr marL="0" indent="0" rtl="0">
              <a:lnSpc>
                <a:spcPct val="100000"/>
              </a:lnSpc>
              <a:spcBef>
                <a:spcPts val="0"/>
              </a:spcBef>
              <a:spcAft>
                <a:spcPts val="0"/>
              </a:spcAft>
              <a:buNone/>
              <a:defRPr sz="2000" b="1">
                <a:solidFill>
                  <a:schemeClr val="bg1"/>
                </a:solidFill>
              </a:defRPr>
            </a:lvl1pPr>
            <a:lvl2pPr marL="457200" indent="0">
              <a:buNone/>
              <a:defRPr sz="1400"/>
            </a:lvl2pPr>
            <a:lvl3pPr marL="914400" indent="0">
              <a:buNone/>
              <a:defRPr sz="1400"/>
            </a:lvl3pPr>
            <a:lvl4pPr marL="1371600" indent="0">
              <a:buNone/>
              <a:defRPr sz="1400"/>
            </a:lvl4pPr>
            <a:lvl5pPr marL="1828800" indent="0">
              <a:buNone/>
              <a:defRPr sz="1400"/>
            </a:lvl5pPr>
          </a:lstStyle>
          <a:p>
            <a:r>
              <a:rPr lang="nl-NL" noProof="0"/>
              <a:t>Persoonsnaam</a:t>
            </a:r>
          </a:p>
          <a:p>
            <a:r>
              <a:rPr lang="nl-NL" noProof="0"/>
              <a:t>Afdeling / werkmaatschappij</a:t>
            </a:r>
          </a:p>
        </p:txBody>
      </p:sp>
    </p:spTree>
    <p:extLst>
      <p:ext uri="{BB962C8B-B14F-4D97-AF65-F5344CB8AC3E}">
        <p14:creationId xmlns:p14="http://schemas.microsoft.com/office/powerpoint/2010/main" val="776097740"/>
      </p:ext>
    </p:extLst>
  </p:cSld>
  <p:clrMapOvr>
    <a:masterClrMapping/>
  </p:clrMapOvr>
  <p:extLst>
    <p:ext uri="{DCECCB84-F9BA-43D5-87BE-67443E8EF086}">
      <p15:sldGuideLst xmlns:p15="http://schemas.microsoft.com/office/powerpoint/2012/main">
        <p15:guide id="1" pos="3840">
          <p15:clr>
            <a:srgbClr val="FBAE40"/>
          </p15:clr>
        </p15:guide>
        <p15:guide id="2" pos="997">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mparison text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37635CA-4E2F-4CE5-8334-B53B560A693C}"/>
              </a:ext>
            </a:extLst>
          </p:cNvPr>
          <p:cNvGraphicFramePr>
            <a:graphicFrameLocks noChangeAspect="1"/>
          </p:cNvGraphicFramePr>
          <p:nvPr userDrawn="1">
            <p:custDataLst>
              <p:tags r:id="rId1"/>
            </p:custDataLst>
            <p:extLst>
              <p:ext uri="{D42A27DB-BD31-4B8C-83A1-F6EECF244321}">
                <p14:modId xmlns:p14="http://schemas.microsoft.com/office/powerpoint/2010/main" val="184435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C37635CA-4E2F-4CE5-8334-B53B560A69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3">
            <a:extLst>
              <a:ext uri="{FF2B5EF4-FFF2-40B4-BE49-F238E27FC236}">
                <a16:creationId xmlns:a16="http://schemas.microsoft.com/office/drawing/2014/main" id="{7123375D-DDBD-47BD-A2E0-4AE6E76D23F3}"/>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8"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825200"/>
            <a:ext cx="2975049"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25" name="Tijdelijke aanduiding voor tekst 5">
            <a:extLst>
              <a:ext uri="{FF2B5EF4-FFF2-40B4-BE49-F238E27FC236}">
                <a16:creationId xmlns:a16="http://schemas.microsoft.com/office/drawing/2014/main" id="{63107E54-C3E5-403B-B65F-53F727038DF8}"/>
              </a:ext>
            </a:extLst>
          </p:cNvPr>
          <p:cNvSpPr>
            <a:spLocks noGrp="1"/>
          </p:cNvSpPr>
          <p:nvPr>
            <p:ph type="body" sz="quarter" idx="25" hasCustomPrompt="1"/>
          </p:nvPr>
        </p:nvSpPr>
        <p:spPr>
          <a:xfrm>
            <a:off x="4360850" y="1825200"/>
            <a:ext cx="2940401"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11" name="Tijdelijke aanduiding voor tekst 7">
            <a:extLst>
              <a:ext uri="{FF2B5EF4-FFF2-40B4-BE49-F238E27FC236}">
                <a16:creationId xmlns:a16="http://schemas.microsoft.com/office/drawing/2014/main" id="{3EF2CF4E-DA51-4347-B47D-9C514272DD7B}"/>
              </a:ext>
            </a:extLst>
          </p:cNvPr>
          <p:cNvSpPr>
            <a:spLocks noGrp="1"/>
          </p:cNvSpPr>
          <p:nvPr>
            <p:ph type="body" sz="quarter" idx="12" hasCustomPrompt="1"/>
          </p:nvPr>
        </p:nvSpPr>
        <p:spPr>
          <a:xfrm>
            <a:off x="4367113" y="1242000"/>
            <a:ext cx="2934138"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2" name="Tijdelijke aanduiding voor tekst 7">
            <a:extLst>
              <a:ext uri="{FF2B5EF4-FFF2-40B4-BE49-F238E27FC236}">
                <a16:creationId xmlns:a16="http://schemas.microsoft.com/office/drawing/2014/main" id="{A1E262D8-254D-4736-A819-92DE0970A2E9}"/>
              </a:ext>
            </a:extLst>
          </p:cNvPr>
          <p:cNvSpPr>
            <a:spLocks noGrp="1"/>
          </p:cNvSpPr>
          <p:nvPr>
            <p:ph type="body" sz="quarter" idx="14" hasCustomPrompt="1"/>
          </p:nvPr>
        </p:nvSpPr>
        <p:spPr>
          <a:xfrm>
            <a:off x="1055688" y="1242000"/>
            <a:ext cx="2975049"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3" name="Tijdelijke aanduiding voor tekst 7">
            <a:extLst>
              <a:ext uri="{FF2B5EF4-FFF2-40B4-BE49-F238E27FC236}">
                <a16:creationId xmlns:a16="http://schemas.microsoft.com/office/drawing/2014/main" id="{8578B8C7-DD3D-49B4-817A-17D68FCE2E70}"/>
              </a:ext>
            </a:extLst>
          </p:cNvPr>
          <p:cNvSpPr>
            <a:spLocks noGrp="1"/>
          </p:cNvSpPr>
          <p:nvPr>
            <p:ph type="body" sz="quarter" idx="16" hasCustomPrompt="1"/>
          </p:nvPr>
        </p:nvSpPr>
        <p:spPr>
          <a:xfrm>
            <a:off x="7631365" y="1242000"/>
            <a:ext cx="2894810"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4" name="Tijdelijke aanduiding voor tekst 5">
            <a:extLst>
              <a:ext uri="{FF2B5EF4-FFF2-40B4-BE49-F238E27FC236}">
                <a16:creationId xmlns:a16="http://schemas.microsoft.com/office/drawing/2014/main" id="{FF9CC62C-C93A-434D-9D8C-F2203362D332}"/>
              </a:ext>
            </a:extLst>
          </p:cNvPr>
          <p:cNvSpPr>
            <a:spLocks noGrp="1"/>
          </p:cNvSpPr>
          <p:nvPr>
            <p:ph type="body" sz="quarter" idx="26" hasCustomPrompt="1"/>
          </p:nvPr>
        </p:nvSpPr>
        <p:spPr>
          <a:xfrm>
            <a:off x="7631364" y="1825200"/>
            <a:ext cx="2901073"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Tree>
    <p:extLst>
      <p:ext uri="{BB962C8B-B14F-4D97-AF65-F5344CB8AC3E}">
        <p14:creationId xmlns:p14="http://schemas.microsoft.com/office/powerpoint/2010/main" val="3660947294"/>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mage &amp; tex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4F82B99-DE8B-4DCC-8C40-B238471B96F6}"/>
              </a:ext>
            </a:extLst>
          </p:cNvPr>
          <p:cNvGraphicFramePr>
            <a:graphicFrameLocks noChangeAspect="1"/>
          </p:cNvGraphicFramePr>
          <p:nvPr userDrawn="1">
            <p:custDataLst>
              <p:tags r:id="rId1"/>
            </p:custDataLst>
            <p:extLst>
              <p:ext uri="{D42A27DB-BD31-4B8C-83A1-F6EECF244321}">
                <p14:modId xmlns:p14="http://schemas.microsoft.com/office/powerpoint/2010/main" val="2451720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24F82B99-DE8B-4DCC-8C40-B238471B96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Freeform 13">
            <a:extLst>
              <a:ext uri="{FF2B5EF4-FFF2-40B4-BE49-F238E27FC236}">
                <a16:creationId xmlns:a16="http://schemas.microsoft.com/office/drawing/2014/main" id="{A9453A20-CF63-4EAF-8A85-B3AD80F727F6}"/>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1" name="Rectangle 10">
            <a:extLst>
              <a:ext uri="{FF2B5EF4-FFF2-40B4-BE49-F238E27FC236}">
                <a16:creationId xmlns:a16="http://schemas.microsoft.com/office/drawing/2014/main" id="{679BDF9A-0461-4EF8-ABCF-139EB08084DC}"/>
              </a:ext>
            </a:extLst>
          </p:cNvPr>
          <p:cNvSpPr/>
          <p:nvPr userDrawn="1"/>
        </p:nvSpPr>
        <p:spPr>
          <a:xfrm>
            <a:off x="7840664" y="1238252"/>
            <a:ext cx="4351336" cy="4416425"/>
          </a:xfrm>
          <a:prstGeom prst="rect">
            <a:avLst/>
          </a:prstGeom>
          <a:gradFill flip="none" rotWithShape="1">
            <a:gsLst>
              <a:gs pos="0">
                <a:schemeClr val="accent1"/>
              </a:gs>
              <a:gs pos="63000">
                <a:schemeClr val="accent3"/>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4" name="Freeform: Shape 13">
            <a:extLst>
              <a:ext uri="{FF2B5EF4-FFF2-40B4-BE49-F238E27FC236}">
                <a16:creationId xmlns:a16="http://schemas.microsoft.com/office/drawing/2014/main" id="{C6A53122-E18E-413B-974E-D3CAD46C9444}"/>
              </a:ext>
            </a:extLst>
          </p:cNvPr>
          <p:cNvSpPr/>
          <p:nvPr userDrawn="1"/>
        </p:nvSpPr>
        <p:spPr>
          <a:xfrm>
            <a:off x="11176001" y="4343402"/>
            <a:ext cx="1018295" cy="1311275"/>
          </a:xfrm>
          <a:custGeom>
            <a:avLst/>
            <a:gdLst>
              <a:gd name="connsiteX0" fmla="*/ 1233715 w 1248229"/>
              <a:gd name="connsiteY0" fmla="*/ 1799771 h 1799771"/>
              <a:gd name="connsiteX1" fmla="*/ 0 w 1248229"/>
              <a:gd name="connsiteY1" fmla="*/ 1799771 h 1799771"/>
              <a:gd name="connsiteX2" fmla="*/ 1248229 w 1248229"/>
              <a:gd name="connsiteY2" fmla="*/ 0 h 1799771"/>
              <a:gd name="connsiteX3" fmla="*/ 1233715 w 1248229"/>
              <a:gd name="connsiteY3" fmla="*/ 1799771 h 1799771"/>
              <a:gd name="connsiteX0" fmla="*/ 1250679 w 1250679"/>
              <a:gd name="connsiteY0" fmla="*/ 1799771 h 1799771"/>
              <a:gd name="connsiteX1" fmla="*/ 0 w 1250679"/>
              <a:gd name="connsiteY1" fmla="*/ 1799771 h 1799771"/>
              <a:gd name="connsiteX2" fmla="*/ 1248229 w 1250679"/>
              <a:gd name="connsiteY2" fmla="*/ 0 h 1799771"/>
              <a:gd name="connsiteX3" fmla="*/ 1250679 w 1250679"/>
              <a:gd name="connsiteY3" fmla="*/ 1799771 h 1799771"/>
            </a:gdLst>
            <a:ahLst/>
            <a:cxnLst>
              <a:cxn ang="0">
                <a:pos x="connsiteX0" y="connsiteY0"/>
              </a:cxn>
              <a:cxn ang="0">
                <a:pos x="connsiteX1" y="connsiteY1"/>
              </a:cxn>
              <a:cxn ang="0">
                <a:pos x="connsiteX2" y="connsiteY2"/>
              </a:cxn>
              <a:cxn ang="0">
                <a:pos x="connsiteX3" y="connsiteY3"/>
              </a:cxn>
            </a:cxnLst>
            <a:rect l="l" t="t" r="r" b="b"/>
            <a:pathLst>
              <a:path w="1250679" h="1799771">
                <a:moveTo>
                  <a:pt x="1250679" y="1799771"/>
                </a:moveTo>
                <a:lnTo>
                  <a:pt x="0" y="1799771"/>
                </a:lnTo>
                <a:lnTo>
                  <a:pt x="1248229" y="0"/>
                </a:lnTo>
                <a:cubicBezTo>
                  <a:pt x="1249046" y="599924"/>
                  <a:pt x="1249862" y="1199847"/>
                  <a:pt x="1250679" y="1799771"/>
                </a:cubicBezTo>
                <a:close/>
              </a:path>
            </a:pathLst>
          </a:custGeom>
          <a:solidFill>
            <a:srgbClr val="A5C8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0" name="Picture Placeholder 9">
            <a:extLst>
              <a:ext uri="{FF2B5EF4-FFF2-40B4-BE49-F238E27FC236}">
                <a16:creationId xmlns:a16="http://schemas.microsoft.com/office/drawing/2014/main" id="{70D2ED9A-854C-4E0D-9501-B36DEE641015}"/>
              </a:ext>
            </a:extLst>
          </p:cNvPr>
          <p:cNvSpPr>
            <a:spLocks noGrp="1"/>
          </p:cNvSpPr>
          <p:nvPr>
            <p:ph type="pic" sz="quarter" idx="10" hasCustomPrompt="1"/>
          </p:nvPr>
        </p:nvSpPr>
        <p:spPr>
          <a:xfrm>
            <a:off x="1055688" y="1242000"/>
            <a:ext cx="6784977" cy="4416425"/>
          </a:xfrm>
          <a:prstGeom prst="rect">
            <a:avLst/>
          </a:prstGeom>
          <a:pattFill prst="ltUpDiag">
            <a:fgClr>
              <a:schemeClr val="accent5"/>
            </a:fgClr>
            <a:bgClr>
              <a:schemeClr val="bg1"/>
            </a:bgClr>
          </a:pattFill>
        </p:spPr>
        <p:txBody>
          <a:bodyPr/>
          <a:lstStyle>
            <a:lvl1pPr marL="171450" indent="-171450" algn="ctr" rtl="0">
              <a:buNone/>
              <a:defRPr lang="nl-NL" sz="1350" b="0" dirty="0">
                <a:solidFill>
                  <a:schemeClr val="tx1"/>
                </a:solidFill>
              </a:defRPr>
            </a:lvl1pPr>
          </a:lstStyle>
          <a:p>
            <a:pPr marL="171450" lvl="0" indent="-171450" algn="ctr"/>
            <a:r>
              <a:rPr lang="nl-NL" noProof="0"/>
              <a:t>Klik op het pictogram om een afbeelding in te voegen
</a:t>
            </a:r>
          </a:p>
        </p:txBody>
      </p:sp>
      <p:grpSp>
        <p:nvGrpSpPr>
          <p:cNvPr id="2" name="Group 1">
            <a:extLst>
              <a:ext uri="{FF2B5EF4-FFF2-40B4-BE49-F238E27FC236}">
                <a16:creationId xmlns:a16="http://schemas.microsoft.com/office/drawing/2014/main" id="{7D3F8092-4AE1-4C16-87A7-EC5F55D3042A}"/>
              </a:ext>
            </a:extLst>
          </p:cNvPr>
          <p:cNvGrpSpPr/>
          <p:nvPr userDrawn="1"/>
        </p:nvGrpSpPr>
        <p:grpSpPr>
          <a:xfrm>
            <a:off x="7840664" y="1244282"/>
            <a:ext cx="3183281" cy="4410393"/>
            <a:chOff x="-9525" y="-9527"/>
            <a:chExt cx="4951518" cy="6877051"/>
          </a:xfrm>
        </p:grpSpPr>
        <p:sp>
          <p:nvSpPr>
            <p:cNvPr id="12" name="Freeform: Shape 11">
              <a:extLst>
                <a:ext uri="{FF2B5EF4-FFF2-40B4-BE49-F238E27FC236}">
                  <a16:creationId xmlns:a16="http://schemas.microsoft.com/office/drawing/2014/main" id="{A5102F1D-0542-4FCB-8F02-BD249953FC53}"/>
                </a:ext>
              </a:extLst>
            </p:cNvPr>
            <p:cNvSpPr/>
            <p:nvPr userDrawn="1"/>
          </p:nvSpPr>
          <p:spPr>
            <a:xfrm>
              <a:off x="-9525" y="-9527"/>
              <a:ext cx="4286250" cy="6877051"/>
            </a:xfrm>
            <a:custGeom>
              <a:avLst/>
              <a:gdLst>
                <a:gd name="connsiteX0" fmla="*/ 0 w 4248150"/>
                <a:gd name="connsiteY0" fmla="*/ 0 h 6877050"/>
                <a:gd name="connsiteX1" fmla="*/ 0 w 4248150"/>
                <a:gd name="connsiteY1" fmla="*/ 6877050 h 6877050"/>
                <a:gd name="connsiteX2" fmla="*/ 2914650 w 4248150"/>
                <a:gd name="connsiteY2" fmla="*/ 6877050 h 6877050"/>
                <a:gd name="connsiteX3" fmla="*/ 4248150 w 4248150"/>
                <a:gd name="connsiteY3" fmla="*/ 5753100 h 6877050"/>
                <a:gd name="connsiteX4" fmla="*/ 962025 w 4248150"/>
                <a:gd name="connsiteY4" fmla="*/ 19050 h 6877050"/>
                <a:gd name="connsiteX5" fmla="*/ 0 w 4248150"/>
                <a:gd name="connsiteY5" fmla="*/ 0 h 6877050"/>
                <a:gd name="connsiteX0" fmla="*/ 0 w 4248150"/>
                <a:gd name="connsiteY0" fmla="*/ 1 h 6877051"/>
                <a:gd name="connsiteX1" fmla="*/ 0 w 4248150"/>
                <a:gd name="connsiteY1" fmla="*/ 6877051 h 6877051"/>
                <a:gd name="connsiteX2" fmla="*/ 2914650 w 4248150"/>
                <a:gd name="connsiteY2" fmla="*/ 6877051 h 6877051"/>
                <a:gd name="connsiteX3" fmla="*/ 4248150 w 4248150"/>
                <a:gd name="connsiteY3" fmla="*/ 5753101 h 6877051"/>
                <a:gd name="connsiteX4" fmla="*/ 952500 w 4248150"/>
                <a:gd name="connsiteY4" fmla="*/ 0 h 6877051"/>
                <a:gd name="connsiteX5" fmla="*/ 0 w 4248150"/>
                <a:gd name="connsiteY5" fmla="*/ 1 h 6877051"/>
                <a:gd name="connsiteX0" fmla="*/ 0 w 4286250"/>
                <a:gd name="connsiteY0" fmla="*/ 1 h 6877051"/>
                <a:gd name="connsiteX1" fmla="*/ 0 w 4286250"/>
                <a:gd name="connsiteY1" fmla="*/ 6877051 h 6877051"/>
                <a:gd name="connsiteX2" fmla="*/ 29146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53101 h 6877051"/>
                <a:gd name="connsiteX4" fmla="*/ 952500 w 4286250"/>
                <a:gd name="connsiteY4" fmla="*/ 0 h 6877051"/>
                <a:gd name="connsiteX5" fmla="*/ 0 w 4286250"/>
                <a:gd name="connsiteY5" fmla="*/ 1 h 687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6250" h="6877051">
                  <a:moveTo>
                    <a:pt x="0" y="1"/>
                  </a:moveTo>
                  <a:lnTo>
                    <a:pt x="0" y="6877051"/>
                  </a:lnTo>
                  <a:lnTo>
                    <a:pt x="2927350" y="6877051"/>
                  </a:lnTo>
                  <a:lnTo>
                    <a:pt x="4286250" y="5753101"/>
                  </a:lnTo>
                  <a:lnTo>
                    <a:pt x="952500" y="0"/>
                  </a:lnTo>
                  <a:lnTo>
                    <a:pt x="0" y="1"/>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3" name="Freeform: Shape 12">
              <a:extLst>
                <a:ext uri="{FF2B5EF4-FFF2-40B4-BE49-F238E27FC236}">
                  <a16:creationId xmlns:a16="http://schemas.microsoft.com/office/drawing/2014/main" id="{AAE48201-1025-45C7-BAE3-1E134883177D}"/>
                </a:ext>
              </a:extLst>
            </p:cNvPr>
            <p:cNvSpPr/>
            <p:nvPr userDrawn="1"/>
          </p:nvSpPr>
          <p:spPr>
            <a:xfrm>
              <a:off x="2916767" y="5740663"/>
              <a:ext cx="2025226" cy="1126755"/>
            </a:xfrm>
            <a:custGeom>
              <a:avLst/>
              <a:gdLst>
                <a:gd name="connsiteX0" fmla="*/ 0 w 2025226"/>
                <a:gd name="connsiteY0" fmla="*/ 1124374 h 1124374"/>
                <a:gd name="connsiteX1" fmla="*/ 1361440 w 2025226"/>
                <a:gd name="connsiteY1" fmla="*/ 0 h 1124374"/>
                <a:gd name="connsiteX2" fmla="*/ 2025226 w 2025226"/>
                <a:gd name="connsiteY2" fmla="*/ 1117600 h 1124374"/>
                <a:gd name="connsiteX3" fmla="*/ 0 w 2025226"/>
                <a:gd name="connsiteY3" fmla="*/ 1124374 h 1124374"/>
                <a:gd name="connsiteX0" fmla="*/ 0 w 2025226"/>
                <a:gd name="connsiteY0" fmla="*/ 1129137 h 1129137"/>
                <a:gd name="connsiteX1" fmla="*/ 1370965 w 2025226"/>
                <a:gd name="connsiteY1" fmla="*/ 0 h 1129137"/>
                <a:gd name="connsiteX2" fmla="*/ 2025226 w 2025226"/>
                <a:gd name="connsiteY2" fmla="*/ 1122363 h 1129137"/>
                <a:gd name="connsiteX3" fmla="*/ 0 w 2025226"/>
                <a:gd name="connsiteY3" fmla="*/ 1129137 h 1129137"/>
                <a:gd name="connsiteX0" fmla="*/ 0 w 2025226"/>
                <a:gd name="connsiteY0" fmla="*/ 1141043 h 1141043"/>
                <a:gd name="connsiteX1" fmla="*/ 1361440 w 2025226"/>
                <a:gd name="connsiteY1" fmla="*/ 0 h 1141043"/>
                <a:gd name="connsiteX2" fmla="*/ 2025226 w 2025226"/>
                <a:gd name="connsiteY2" fmla="*/ 1134269 h 1141043"/>
                <a:gd name="connsiteX3" fmla="*/ 0 w 2025226"/>
                <a:gd name="connsiteY3" fmla="*/ 1141043 h 1141043"/>
                <a:gd name="connsiteX0" fmla="*/ 0 w 2025226"/>
                <a:gd name="connsiteY0" fmla="*/ 1141043 h 1141043"/>
                <a:gd name="connsiteX1" fmla="*/ 1361440 w 2025226"/>
                <a:gd name="connsiteY1" fmla="*/ 0 h 1141043"/>
                <a:gd name="connsiteX2" fmla="*/ 2025226 w 2025226"/>
                <a:gd name="connsiteY2" fmla="*/ 1124744 h 1141043"/>
                <a:gd name="connsiteX3" fmla="*/ 0 w 2025226"/>
                <a:gd name="connsiteY3" fmla="*/ 1141043 h 1141043"/>
                <a:gd name="connsiteX0" fmla="*/ 0 w 2025226"/>
                <a:gd name="connsiteY0" fmla="*/ 1126755 h 1126755"/>
                <a:gd name="connsiteX1" fmla="*/ 1361440 w 2025226"/>
                <a:gd name="connsiteY1" fmla="*/ 0 h 1126755"/>
                <a:gd name="connsiteX2" fmla="*/ 2025226 w 2025226"/>
                <a:gd name="connsiteY2" fmla="*/ 1124744 h 1126755"/>
                <a:gd name="connsiteX3" fmla="*/ 0 w 2025226"/>
                <a:gd name="connsiteY3" fmla="*/ 1126755 h 1126755"/>
              </a:gdLst>
              <a:ahLst/>
              <a:cxnLst>
                <a:cxn ang="0">
                  <a:pos x="connsiteX0" y="connsiteY0"/>
                </a:cxn>
                <a:cxn ang="0">
                  <a:pos x="connsiteX1" y="connsiteY1"/>
                </a:cxn>
                <a:cxn ang="0">
                  <a:pos x="connsiteX2" y="connsiteY2"/>
                </a:cxn>
                <a:cxn ang="0">
                  <a:pos x="connsiteX3" y="connsiteY3"/>
                </a:cxn>
              </a:cxnLst>
              <a:rect l="l" t="t" r="r" b="b"/>
              <a:pathLst>
                <a:path w="2025226" h="1126755">
                  <a:moveTo>
                    <a:pt x="0" y="1126755"/>
                  </a:moveTo>
                  <a:lnTo>
                    <a:pt x="1361440" y="0"/>
                  </a:lnTo>
                  <a:lnTo>
                    <a:pt x="2025226" y="1124744"/>
                  </a:lnTo>
                  <a:lnTo>
                    <a:pt x="0" y="1126755"/>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grpSp>
      <p:sp>
        <p:nvSpPr>
          <p:cNvPr id="19" name="Text Placeholder 18">
            <a:extLst>
              <a:ext uri="{FF2B5EF4-FFF2-40B4-BE49-F238E27FC236}">
                <a16:creationId xmlns:a16="http://schemas.microsoft.com/office/drawing/2014/main" id="{766530C3-4A09-4A28-9D47-83C0CA7CBD72}"/>
              </a:ext>
            </a:extLst>
          </p:cNvPr>
          <p:cNvSpPr>
            <a:spLocks noGrp="1"/>
          </p:cNvSpPr>
          <p:nvPr>
            <p:ph type="body" sz="quarter" idx="11" hasCustomPrompt="1"/>
          </p:nvPr>
        </p:nvSpPr>
        <p:spPr>
          <a:xfrm>
            <a:off x="8085138" y="1524002"/>
            <a:ext cx="3700463" cy="4091305"/>
          </a:xfrm>
          <a:prstGeom prst="rect">
            <a:avLst/>
          </a:prstGeom>
        </p:spPr>
        <p:txBody>
          <a:bodyPr/>
          <a:lstStyle>
            <a:lvl1pPr marL="0" indent="0">
              <a:buNone/>
              <a:defRPr sz="1050">
                <a:solidFill>
                  <a:schemeClr val="bg1"/>
                </a:solidFill>
              </a:defRPr>
            </a:lvl1pPr>
            <a:lvl2pPr marL="342900" indent="0">
              <a:buNone/>
              <a:defRPr sz="900">
                <a:solidFill>
                  <a:schemeClr val="bg1"/>
                </a:solidFill>
              </a:defRPr>
            </a:lvl2pPr>
            <a:lvl3pPr marL="685800" indent="0">
              <a:buNone/>
              <a:defRPr sz="825">
                <a:solidFill>
                  <a:schemeClr val="bg1"/>
                </a:solidFill>
              </a:defRPr>
            </a:lvl3pPr>
            <a:lvl4pPr marL="1028700" indent="0">
              <a:buNone/>
              <a:defRPr sz="788">
                <a:solidFill>
                  <a:schemeClr val="bg1"/>
                </a:solidFill>
              </a:defRPr>
            </a:lvl4pPr>
            <a:lvl5pPr marL="1371600" indent="0">
              <a:buNone/>
              <a:defRPr sz="788">
                <a:solidFill>
                  <a:schemeClr val="bg1"/>
                </a:solidFill>
              </a:defRPr>
            </a:lvl5pPr>
          </a:lstStyle>
          <a:p>
            <a:pPr lvl="0"/>
            <a:r>
              <a:rPr lang="nl-NL" noProof="0" dirty="0"/>
              <a:t>Plaats hier uw tekst</a:t>
            </a:r>
            <a:r>
              <a:rPr lang="en-GB" noProof="0" dirty="0"/>
              <a:t>
</a:t>
            </a:r>
          </a:p>
        </p:txBody>
      </p:sp>
      <p:sp>
        <p:nvSpPr>
          <p:cNvPr id="21" name="Rechthoek 6">
            <a:extLst>
              <a:ext uri="{FF2B5EF4-FFF2-40B4-BE49-F238E27FC236}">
                <a16:creationId xmlns:a16="http://schemas.microsoft.com/office/drawing/2014/main" id="{82928A70-FEFE-4163-ABDB-A78909E0EF28}"/>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Tree>
    <p:extLst>
      <p:ext uri="{BB962C8B-B14F-4D97-AF65-F5344CB8AC3E}">
        <p14:creationId xmlns:p14="http://schemas.microsoft.com/office/powerpoint/2010/main" val="3828172001"/>
      </p:ext>
    </p:extLst>
  </p:cSld>
  <p:clrMapOvr>
    <a:masterClrMapping/>
  </p:clrMapOvr>
  <p:extLst>
    <p:ext uri="{DCECCB84-F9BA-43D5-87BE-67443E8EF086}">
      <p15:sldGuideLst xmlns:p15="http://schemas.microsoft.com/office/powerpoint/2012/main">
        <p15:guide id="1" orient="horz" pos="777" userDrawn="1">
          <p15:clr>
            <a:srgbClr val="FBAE40"/>
          </p15:clr>
        </p15:guide>
        <p15:guide id="2" pos="665"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F677FC-E07D-426E-AEE9-09BB9B1B7947}"/>
              </a:ext>
            </a:extLst>
          </p:cNvPr>
          <p:cNvGraphicFramePr>
            <a:graphicFrameLocks noChangeAspect="1"/>
          </p:cNvGraphicFramePr>
          <p:nvPr userDrawn="1">
            <p:custDataLst>
              <p:tags r:id="rId1"/>
            </p:custDataLst>
            <p:extLst>
              <p:ext uri="{D42A27DB-BD31-4B8C-83A1-F6EECF244321}">
                <p14:modId xmlns:p14="http://schemas.microsoft.com/office/powerpoint/2010/main" val="2037753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34F677FC-E07D-426E-AEE9-09BB9B1B79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8F8E8013-F649-4BBA-B7DC-6DE1E7273FCD}"/>
              </a:ext>
            </a:extLst>
          </p:cNvPr>
          <p:cNvSpPr/>
          <p:nvPr userDrawn="1"/>
        </p:nvSpPr>
        <p:spPr>
          <a:xfrm>
            <a:off x="1055688" y="6256212"/>
            <a:ext cx="9871868" cy="6017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9" name="Freeform 13">
            <a:extLst>
              <a:ext uri="{FF2B5EF4-FFF2-40B4-BE49-F238E27FC236}">
                <a16:creationId xmlns:a16="http://schemas.microsoft.com/office/drawing/2014/main" id="{9AFF051C-D5DF-42DA-92A1-23F95FD19F1F}"/>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0" name="Picture Placeholder 9">
            <a:extLst>
              <a:ext uri="{FF2B5EF4-FFF2-40B4-BE49-F238E27FC236}">
                <a16:creationId xmlns:a16="http://schemas.microsoft.com/office/drawing/2014/main" id="{70D2ED9A-854C-4E0D-9501-B36DEE641015}"/>
              </a:ext>
            </a:extLst>
          </p:cNvPr>
          <p:cNvSpPr>
            <a:spLocks noGrp="1"/>
          </p:cNvSpPr>
          <p:nvPr>
            <p:ph type="pic" sz="quarter" idx="10" hasCustomPrompt="1"/>
          </p:nvPr>
        </p:nvSpPr>
        <p:spPr>
          <a:xfrm>
            <a:off x="1055688" y="1242000"/>
            <a:ext cx="11136313" cy="5022726"/>
          </a:xfrm>
          <a:prstGeom prst="rect">
            <a:avLst/>
          </a:prstGeom>
          <a:pattFill prst="ltUpDiag">
            <a:fgClr>
              <a:schemeClr val="accent5"/>
            </a:fgClr>
            <a:bgClr>
              <a:schemeClr val="bg1"/>
            </a:bgClr>
          </a:pattFill>
        </p:spPr>
        <p:txBody>
          <a:bodyPr/>
          <a:lstStyle>
            <a:lvl1pPr marL="171450" indent="-171450" algn="ctr" rtl="0">
              <a:buNone/>
              <a:defRPr lang="nl-NL" sz="1350" b="0" dirty="0">
                <a:solidFill>
                  <a:schemeClr val="tx1"/>
                </a:solidFill>
              </a:defRPr>
            </a:lvl1pPr>
          </a:lstStyle>
          <a:p>
            <a:pPr marL="171450" lvl="0" indent="-171450" algn="ctr"/>
            <a:r>
              <a:rPr lang="nl-NL" noProof="0" dirty="0"/>
              <a:t>Klik op het pictogram om een afbeelding in te voegen
</a:t>
            </a:r>
          </a:p>
        </p:txBody>
      </p:sp>
      <p:sp>
        <p:nvSpPr>
          <p:cNvPr id="5" name="Text Placeholder 4">
            <a:extLst>
              <a:ext uri="{FF2B5EF4-FFF2-40B4-BE49-F238E27FC236}">
                <a16:creationId xmlns:a16="http://schemas.microsoft.com/office/drawing/2014/main" id="{3595E803-D9D6-4C73-BAED-8D75C8F0931A}"/>
              </a:ext>
            </a:extLst>
          </p:cNvPr>
          <p:cNvSpPr>
            <a:spLocks noGrp="1"/>
          </p:cNvSpPr>
          <p:nvPr userDrawn="1">
            <p:ph type="body" sz="quarter" idx="11" hasCustomPrompt="1"/>
          </p:nvPr>
        </p:nvSpPr>
        <p:spPr>
          <a:xfrm>
            <a:off x="1264444" y="6372956"/>
            <a:ext cx="8539957" cy="368300"/>
          </a:xfrm>
          <a:prstGeom prst="rect">
            <a:avLst/>
          </a:prstGeom>
        </p:spPr>
        <p:txBody>
          <a:bodyPr anchor="ctr" anchorCtr="0"/>
          <a:lstStyle>
            <a:lvl1pPr marL="0" indent="0" rtl="0">
              <a:buNone/>
              <a:defRPr lang="nl-NL" sz="900" b="0" kern="1200" noProof="0" dirty="0" smtClean="0">
                <a:solidFill>
                  <a:schemeClr val="tx1"/>
                </a:solidFill>
                <a:latin typeface="+mn-lt"/>
                <a:ea typeface="+mn-ea"/>
                <a:cs typeface="+mn-cs"/>
              </a:defRPr>
            </a:lvl1pPr>
            <a:lvl2pPr marL="342900" indent="0">
              <a:buNone/>
              <a:defRPr/>
            </a:lvl2pPr>
          </a:lstStyle>
          <a:p>
            <a:pPr lvl="0"/>
            <a:r>
              <a:rPr lang="nl-NL" noProof="0" dirty="0"/>
              <a:t>Vul hier een bijschrift in</a:t>
            </a:r>
          </a:p>
        </p:txBody>
      </p:sp>
      <p:sp>
        <p:nvSpPr>
          <p:cNvPr id="14" name="Rechthoek 6">
            <a:extLst>
              <a:ext uri="{FF2B5EF4-FFF2-40B4-BE49-F238E27FC236}">
                <a16:creationId xmlns:a16="http://schemas.microsoft.com/office/drawing/2014/main" id="{33645031-9916-4D91-89D3-08FF6AB4462D}"/>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Tree>
    <p:extLst>
      <p:ext uri="{BB962C8B-B14F-4D97-AF65-F5344CB8AC3E}">
        <p14:creationId xmlns:p14="http://schemas.microsoft.com/office/powerpoint/2010/main" val="2608970445"/>
      </p:ext>
    </p:extLst>
  </p:cSld>
  <p:clrMapOvr>
    <a:masterClrMapping/>
  </p:clrMapOvr>
  <p:extLst>
    <p:ext uri="{DCECCB84-F9BA-43D5-87BE-67443E8EF086}">
      <p15:sldGuideLst xmlns:p15="http://schemas.microsoft.com/office/powerpoint/2012/main">
        <p15:guide id="1" orient="horz" pos="777" userDrawn="1">
          <p15:clr>
            <a:srgbClr val="FBAE40"/>
          </p15:clr>
        </p15:guide>
        <p15:guide id="2" pos="66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ull photo">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CCCC44-E061-41A1-984A-C2CADA70991A}"/>
              </a:ext>
            </a:extLst>
          </p:cNvPr>
          <p:cNvGraphicFramePr>
            <a:graphicFrameLocks noChangeAspect="1"/>
          </p:cNvGraphicFramePr>
          <p:nvPr userDrawn="1">
            <p:custDataLst>
              <p:tags r:id="rId1"/>
            </p:custDataLst>
            <p:extLst>
              <p:ext uri="{D42A27DB-BD31-4B8C-83A1-F6EECF244321}">
                <p14:modId xmlns:p14="http://schemas.microsoft.com/office/powerpoint/2010/main" val="4291572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2DCCCC44-E061-41A1-984A-C2CADA7099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reeform 13">
            <a:extLst>
              <a:ext uri="{FF2B5EF4-FFF2-40B4-BE49-F238E27FC236}">
                <a16:creationId xmlns:a16="http://schemas.microsoft.com/office/drawing/2014/main" id="{ABF7B0A2-A7F9-494E-B31A-F60B8DD5B1E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0" name="Tijdelijke aanduiding voor afbeelding 9">
            <a:extLst>
              <a:ext uri="{FF2B5EF4-FFF2-40B4-BE49-F238E27FC236}">
                <a16:creationId xmlns:a16="http://schemas.microsoft.com/office/drawing/2014/main" id="{B35ADB30-8D3F-46F7-ACAE-3E6E4B7DCDD1}"/>
              </a:ext>
            </a:extLst>
          </p:cNvPr>
          <p:cNvSpPr>
            <a:spLocks noGrp="1"/>
          </p:cNvSpPr>
          <p:nvPr>
            <p:ph type="pic" sz="quarter" idx="10"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256199 h 6858000"/>
              <a:gd name="connsiteX3" fmla="*/ 10909956 w 12192000"/>
              <a:gd name="connsiteY3" fmla="*/ 6253810 h 6858000"/>
              <a:gd name="connsiteX4" fmla="*/ 10525907 w 12192000"/>
              <a:gd name="connsiteY4" fmla="*/ 6858000 h 6858000"/>
              <a:gd name="connsiteX5" fmla="*/ 0 w 12192000"/>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858000">
                <a:moveTo>
                  <a:pt x="0" y="0"/>
                </a:moveTo>
                <a:lnTo>
                  <a:pt x="12192000" y="0"/>
                </a:lnTo>
                <a:lnTo>
                  <a:pt x="12192000" y="6256199"/>
                </a:lnTo>
                <a:lnTo>
                  <a:pt x="10909956" y="6253810"/>
                </a:lnTo>
                <a:lnTo>
                  <a:pt x="10525907" y="6858000"/>
                </a:lnTo>
                <a:lnTo>
                  <a:pt x="0" y="6858000"/>
                </a:lnTo>
                <a:close/>
              </a:path>
            </a:pathLst>
          </a:custGeom>
          <a:pattFill prst="ltUpDiag">
            <a:fgClr>
              <a:schemeClr val="accent5"/>
            </a:fgClr>
            <a:bgClr>
              <a:schemeClr val="bg1"/>
            </a:bgClr>
          </a:pattFill>
        </p:spPr>
        <p:txBody>
          <a:bodyPr wrap="square">
            <a:noAutofit/>
          </a:bodyPr>
          <a:lstStyle>
            <a:lvl1pPr marL="171450" indent="-171450" algn="ctr" defTabSz="685800" rtl="0" eaLnBrk="1" latinLnBrk="0" hangingPunct="1">
              <a:lnSpc>
                <a:spcPct val="100000"/>
              </a:lnSpc>
              <a:spcBef>
                <a:spcPts val="0"/>
              </a:spcBef>
              <a:buFont typeface="Arial" panose="020B0604020202020204" pitchFamily="34" charset="0"/>
              <a:buNone/>
              <a:defRPr lang="nl-NL" sz="1350" b="0" kern="1200" dirty="0" smtClean="0">
                <a:solidFill>
                  <a:schemeClr val="tx1"/>
                </a:solidFill>
                <a:latin typeface="+mn-lt"/>
                <a:ea typeface="+mn-ea"/>
                <a:cs typeface="+mn-cs"/>
              </a:defRPr>
            </a:lvl1pPr>
          </a:lstStyle>
          <a:p>
            <a:pPr marL="171450" lvl="0" indent="-171450" algn="ctr" defTabSz="685800" rtl="0" eaLnBrk="1" latinLnBrk="0" hangingPunct="1">
              <a:lnSpc>
                <a:spcPct val="100000"/>
              </a:lnSpc>
              <a:spcBef>
                <a:spcPts val="0"/>
              </a:spcBef>
              <a:buFont typeface="Arial" panose="020B0604020202020204" pitchFamily="34" charset="0"/>
              <a:buNone/>
            </a:pPr>
            <a:r>
              <a:rPr lang="nl-NL" noProof="0"/>
              <a:t>Klik op het pictogram om een afbeelding in te voegen 
</a:t>
            </a:r>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599885" cy="601788"/>
          </a:xfrm>
          <a:prstGeom prst="rect">
            <a:avLst/>
          </a:prstGeom>
        </p:spPr>
        <p:txBody>
          <a:bodyPr vert="horz" lIns="0"/>
          <a:lstStyle>
            <a:lvl1pPr rtl="0">
              <a:defRPr sz="2800" b="1">
                <a:solidFill>
                  <a:schemeClr val="accent1"/>
                </a:solidFill>
              </a:defRPr>
            </a:lvl1pPr>
          </a:lstStyle>
          <a:p>
            <a:r>
              <a:rPr lang="nl-NL" noProof="0"/>
              <a:t>Titel
</a:t>
            </a:r>
          </a:p>
        </p:txBody>
      </p:sp>
    </p:spTree>
    <p:extLst>
      <p:ext uri="{BB962C8B-B14F-4D97-AF65-F5344CB8AC3E}">
        <p14:creationId xmlns:p14="http://schemas.microsoft.com/office/powerpoint/2010/main" val="3036247042"/>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ullet &amp; ima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6D42D8C-433E-40E8-8CF5-53D281F264D1}"/>
              </a:ext>
            </a:extLst>
          </p:cNvPr>
          <p:cNvGraphicFramePr>
            <a:graphicFrameLocks noChangeAspect="1"/>
          </p:cNvGraphicFramePr>
          <p:nvPr userDrawn="1">
            <p:custDataLst>
              <p:tags r:id="rId1"/>
            </p:custDataLst>
            <p:extLst>
              <p:ext uri="{D42A27DB-BD31-4B8C-83A1-F6EECF244321}">
                <p14:modId xmlns:p14="http://schemas.microsoft.com/office/powerpoint/2010/main" val="341066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6D42D8C-433E-40E8-8CF5-53D281F264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tangle 1">
            <a:extLst>
              <a:ext uri="{FF2B5EF4-FFF2-40B4-BE49-F238E27FC236}">
                <a16:creationId xmlns:a16="http://schemas.microsoft.com/office/drawing/2014/main" id="{93DAC04A-E36A-481F-9DEE-32C71030BF54}"/>
              </a:ext>
            </a:extLst>
          </p:cNvPr>
          <p:cNvSpPr/>
          <p:nvPr userDrawn="1"/>
        </p:nvSpPr>
        <p:spPr>
          <a:xfrm>
            <a:off x="5951539" y="0"/>
            <a:ext cx="6240462"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5" name="Freeform 13">
            <a:extLst>
              <a:ext uri="{FF2B5EF4-FFF2-40B4-BE49-F238E27FC236}">
                <a16:creationId xmlns:a16="http://schemas.microsoft.com/office/drawing/2014/main" id="{3E9546D4-32C9-49C3-BED5-28D320FFD9B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5077628" cy="601788"/>
          </a:xfrm>
          <a:prstGeom prst="rect">
            <a:avLst/>
          </a:prstGeom>
        </p:spPr>
        <p:txBody>
          <a:bodyPr vert="horz" lIns="0"/>
          <a:lstStyle>
            <a:lvl1pPr rtl="0">
              <a:defRPr sz="2800" b="1">
                <a:solidFill>
                  <a:schemeClr val="accent1"/>
                </a:solidFill>
              </a:defRPr>
            </a:lvl1pPr>
          </a:lstStyle>
          <a:p>
            <a:r>
              <a:rPr lang="nl-NL" noProof="0"/>
              <a:t>Titel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5030788" cy="49952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12" name="Text Placeholder 4">
            <a:extLst>
              <a:ext uri="{FF2B5EF4-FFF2-40B4-BE49-F238E27FC236}">
                <a16:creationId xmlns:a16="http://schemas.microsoft.com/office/drawing/2014/main" id="{B307918D-46C3-48B8-8CDF-F888CE0A92F9}"/>
              </a:ext>
            </a:extLst>
          </p:cNvPr>
          <p:cNvSpPr>
            <a:spLocks noGrp="1"/>
          </p:cNvSpPr>
          <p:nvPr>
            <p:ph type="body" sz="quarter" idx="13" hasCustomPrompt="1"/>
          </p:nvPr>
        </p:nvSpPr>
        <p:spPr>
          <a:xfrm>
            <a:off x="6096000" y="6372956"/>
            <a:ext cx="4429125" cy="368300"/>
          </a:xfrm>
          <a:prstGeom prst="rect">
            <a:avLst/>
          </a:prstGeom>
        </p:spPr>
        <p:txBody>
          <a:bodyPr anchor="ctr" anchorCtr="0"/>
          <a:lstStyle>
            <a:lvl1pPr marL="0" indent="0" rtl="0">
              <a:buNone/>
              <a:defRPr sz="900" b="0">
                <a:solidFill>
                  <a:schemeClr val="tx1"/>
                </a:solidFill>
              </a:defRPr>
            </a:lvl1pPr>
            <a:lvl2pPr marL="342900" indent="0">
              <a:buNone/>
              <a:defRPr/>
            </a:lvl2pPr>
          </a:lstStyle>
          <a:p>
            <a:pPr lvl="0"/>
            <a:r>
              <a:rPr lang="nl-NL" noProof="0" dirty="0"/>
              <a:t>Vul hier een bijschrift in</a:t>
            </a:r>
          </a:p>
        </p:txBody>
      </p:sp>
      <p:sp>
        <p:nvSpPr>
          <p:cNvPr id="13" name="Rechthoek 6">
            <a:extLst>
              <a:ext uri="{FF2B5EF4-FFF2-40B4-BE49-F238E27FC236}">
                <a16:creationId xmlns:a16="http://schemas.microsoft.com/office/drawing/2014/main" id="{CE13FE91-E01D-49BE-92B9-44F5EB61DAE3}"/>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6" name="Tijdelijke aanduiding voor afbeelding 15">
            <a:extLst>
              <a:ext uri="{FF2B5EF4-FFF2-40B4-BE49-F238E27FC236}">
                <a16:creationId xmlns:a16="http://schemas.microsoft.com/office/drawing/2014/main" id="{2C502942-007F-42AA-A501-57138A68EE8F}"/>
              </a:ext>
            </a:extLst>
          </p:cNvPr>
          <p:cNvSpPr>
            <a:spLocks noGrp="1"/>
          </p:cNvSpPr>
          <p:nvPr>
            <p:ph type="pic" sz="quarter" idx="14" hasCustomPrompt="1"/>
          </p:nvPr>
        </p:nvSpPr>
        <p:spPr>
          <a:xfrm>
            <a:off x="5951538" y="0"/>
            <a:ext cx="6240462" cy="6256212"/>
          </a:xfrm>
          <a:prstGeom prst="rect">
            <a:avLst/>
          </a:prstGeom>
          <a:pattFill prst="ltUpDiag">
            <a:fgClr>
              <a:schemeClr val="accent5"/>
            </a:fgClr>
            <a:bgClr>
              <a:schemeClr val="bg1"/>
            </a:bgClr>
          </a:pattFill>
        </p:spPr>
        <p:txBody>
          <a:bodyPr/>
          <a:lstStyle>
            <a:lvl1pPr marL="171450" marR="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lang="en-GB" sz="1350" b="0">
                <a:solidFill>
                  <a:schemeClr val="tx1"/>
                </a:solidFill>
              </a:defRPr>
            </a:lvl1pPr>
          </a:lstStyle>
          <a:p>
            <a:pPr marL="171450" marR="0" lvl="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een afbeelding in te voegen
</a:t>
            </a:r>
          </a:p>
        </p:txBody>
      </p:sp>
    </p:spTree>
    <p:extLst>
      <p:ext uri="{BB962C8B-B14F-4D97-AF65-F5344CB8AC3E}">
        <p14:creationId xmlns:p14="http://schemas.microsoft.com/office/powerpoint/2010/main" val="893466345"/>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ullet photo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D740A68-F92A-46DC-B1A3-797A53D8FE0B}"/>
              </a:ext>
            </a:extLst>
          </p:cNvPr>
          <p:cNvGraphicFramePr>
            <a:graphicFrameLocks noChangeAspect="1"/>
          </p:cNvGraphicFramePr>
          <p:nvPr userDrawn="1">
            <p:custDataLst>
              <p:tags r:id="rId1"/>
            </p:custDataLst>
            <p:extLst>
              <p:ext uri="{D42A27DB-BD31-4B8C-83A1-F6EECF244321}">
                <p14:modId xmlns:p14="http://schemas.microsoft.com/office/powerpoint/2010/main" val="1189564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D740A68-F92A-46DC-B1A3-797A53D8FE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tangle 1">
            <a:extLst>
              <a:ext uri="{FF2B5EF4-FFF2-40B4-BE49-F238E27FC236}">
                <a16:creationId xmlns:a16="http://schemas.microsoft.com/office/drawing/2014/main" id="{93DAC04A-E36A-481F-9DEE-32C71030BF54}"/>
              </a:ext>
            </a:extLst>
          </p:cNvPr>
          <p:cNvSpPr/>
          <p:nvPr userDrawn="1"/>
        </p:nvSpPr>
        <p:spPr>
          <a:xfrm>
            <a:off x="5951539" y="0"/>
            <a:ext cx="6240462"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20" name="Freeform 13">
            <a:extLst>
              <a:ext uri="{FF2B5EF4-FFF2-40B4-BE49-F238E27FC236}">
                <a16:creationId xmlns:a16="http://schemas.microsoft.com/office/drawing/2014/main" id="{DF91A949-CD6E-48A1-BAEA-01FC493920E2}"/>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5016386"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5040312" cy="49952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12" name="Text Placeholder 4">
            <a:extLst>
              <a:ext uri="{FF2B5EF4-FFF2-40B4-BE49-F238E27FC236}">
                <a16:creationId xmlns:a16="http://schemas.microsoft.com/office/drawing/2014/main" id="{B307918D-46C3-48B8-8CDF-F888CE0A92F9}"/>
              </a:ext>
            </a:extLst>
          </p:cNvPr>
          <p:cNvSpPr>
            <a:spLocks noGrp="1"/>
          </p:cNvSpPr>
          <p:nvPr>
            <p:ph type="body" sz="quarter" idx="13" hasCustomPrompt="1"/>
          </p:nvPr>
        </p:nvSpPr>
        <p:spPr>
          <a:xfrm>
            <a:off x="6096000" y="6372956"/>
            <a:ext cx="4429125" cy="368300"/>
          </a:xfrm>
          <a:prstGeom prst="rect">
            <a:avLst/>
          </a:prstGeom>
        </p:spPr>
        <p:txBody>
          <a:bodyPr anchor="ctr" anchorCtr="0"/>
          <a:lstStyle>
            <a:lvl1pPr marL="0" indent="0" rtl="0">
              <a:buNone/>
              <a:defRPr sz="900" b="0">
                <a:solidFill>
                  <a:schemeClr val="tx1"/>
                </a:solidFill>
              </a:defRPr>
            </a:lvl1pPr>
            <a:lvl2pPr marL="342900" indent="0">
              <a:buNone/>
              <a:defRPr/>
            </a:lvl2pPr>
          </a:lstStyle>
          <a:p>
            <a:pPr lvl="0"/>
            <a:r>
              <a:rPr lang="nl-NL" noProof="0" dirty="0"/>
              <a:t>Vul hier een bijschrift in</a:t>
            </a:r>
          </a:p>
        </p:txBody>
      </p:sp>
      <p:sp>
        <p:nvSpPr>
          <p:cNvPr id="13" name="Rechthoek 6">
            <a:extLst>
              <a:ext uri="{FF2B5EF4-FFF2-40B4-BE49-F238E27FC236}">
                <a16:creationId xmlns:a16="http://schemas.microsoft.com/office/drawing/2014/main" id="{CE13FE91-E01D-49BE-92B9-44F5EB61DAE3}"/>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6" name="Tijdelijke aanduiding voor afbeelding 15">
            <a:extLst>
              <a:ext uri="{FF2B5EF4-FFF2-40B4-BE49-F238E27FC236}">
                <a16:creationId xmlns:a16="http://schemas.microsoft.com/office/drawing/2014/main" id="{2C502942-007F-42AA-A501-57138A68EE8F}"/>
              </a:ext>
            </a:extLst>
          </p:cNvPr>
          <p:cNvSpPr>
            <a:spLocks noGrp="1"/>
          </p:cNvSpPr>
          <p:nvPr>
            <p:ph type="pic" sz="quarter" idx="14" hasCustomPrompt="1"/>
          </p:nvPr>
        </p:nvSpPr>
        <p:spPr>
          <a:xfrm>
            <a:off x="9144000" y="3429000"/>
            <a:ext cx="3048000" cy="2827212"/>
          </a:xfrm>
          <a:prstGeom prst="rect">
            <a:avLst/>
          </a:prstGeom>
          <a:pattFill prst="ltUpDiag">
            <a:fgClr>
              <a:schemeClr val="accent5"/>
            </a:fgClr>
            <a:bgClr>
              <a:schemeClr val="bg1"/>
            </a:bgClr>
          </a:pattFill>
        </p:spPr>
        <p:txBody>
          <a:bodyPr/>
          <a:lstStyle>
            <a:lvl1pPr marL="171450" marR="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lang="en-GB" sz="1350" b="0">
                <a:solidFill>
                  <a:schemeClr val="tx1"/>
                </a:solidFill>
              </a:defRPr>
            </a:lvl1pPr>
          </a:lstStyle>
          <a:p>
            <a:pPr marL="171450" marR="0" lvl="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een afbeelding in te voegen
</a:t>
            </a:r>
          </a:p>
        </p:txBody>
      </p:sp>
      <p:sp>
        <p:nvSpPr>
          <p:cNvPr id="15" name="Tijdelijke aanduiding voor afbeelding 15">
            <a:extLst>
              <a:ext uri="{FF2B5EF4-FFF2-40B4-BE49-F238E27FC236}">
                <a16:creationId xmlns:a16="http://schemas.microsoft.com/office/drawing/2014/main" id="{6FECD62A-9168-46F4-A58B-55FFB7C15104}"/>
              </a:ext>
            </a:extLst>
          </p:cNvPr>
          <p:cNvSpPr>
            <a:spLocks noGrp="1"/>
          </p:cNvSpPr>
          <p:nvPr>
            <p:ph type="pic" sz="quarter" idx="15" hasCustomPrompt="1"/>
          </p:nvPr>
        </p:nvSpPr>
        <p:spPr>
          <a:xfrm>
            <a:off x="5951538" y="3429000"/>
            <a:ext cx="3192462" cy="2827212"/>
          </a:xfrm>
          <a:prstGeom prst="rect">
            <a:avLst/>
          </a:prstGeom>
          <a:pattFill prst="ltUpDiag">
            <a:fgClr>
              <a:schemeClr val="accent5"/>
            </a:fgClr>
            <a:bgClr>
              <a:schemeClr val="bg1"/>
            </a:bgClr>
          </a:pattFill>
        </p:spPr>
        <p:txBody>
          <a:bodyPr/>
          <a:lstStyle>
            <a:lvl1pPr marL="171450" marR="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lang="en-GB" sz="1350" b="0">
                <a:solidFill>
                  <a:schemeClr val="tx1"/>
                </a:solidFill>
              </a:defRPr>
            </a:lvl1pPr>
          </a:lstStyle>
          <a:p>
            <a:pPr marL="171450" marR="0" lvl="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een afbeelding in te voegen
</a:t>
            </a:r>
          </a:p>
        </p:txBody>
      </p:sp>
      <p:sp>
        <p:nvSpPr>
          <p:cNvPr id="17" name="Tijdelijke aanduiding voor afbeelding 15">
            <a:extLst>
              <a:ext uri="{FF2B5EF4-FFF2-40B4-BE49-F238E27FC236}">
                <a16:creationId xmlns:a16="http://schemas.microsoft.com/office/drawing/2014/main" id="{71E06B05-8025-4E8D-852B-CD13D3ACD214}"/>
              </a:ext>
            </a:extLst>
          </p:cNvPr>
          <p:cNvSpPr>
            <a:spLocks noGrp="1"/>
          </p:cNvSpPr>
          <p:nvPr>
            <p:ph type="pic" sz="quarter" idx="16" hasCustomPrompt="1"/>
          </p:nvPr>
        </p:nvSpPr>
        <p:spPr>
          <a:xfrm>
            <a:off x="5951539" y="0"/>
            <a:ext cx="6240460" cy="3428996"/>
          </a:xfrm>
          <a:prstGeom prst="rect">
            <a:avLst/>
          </a:prstGeom>
          <a:pattFill prst="ltUpDiag">
            <a:fgClr>
              <a:schemeClr val="accent5"/>
            </a:fgClr>
            <a:bgClr>
              <a:schemeClr val="bg1"/>
            </a:bgClr>
          </a:pattFill>
        </p:spPr>
        <p:txBody>
          <a:bodyPr/>
          <a:lstStyle>
            <a:lvl1pPr marL="171450" marR="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lang="en-GB" sz="1350" b="0">
                <a:solidFill>
                  <a:schemeClr val="tx1"/>
                </a:solidFill>
              </a:defRPr>
            </a:lvl1pPr>
          </a:lstStyle>
          <a:p>
            <a:pPr marL="171450" marR="0" lvl="0" indent="-17145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een afbeelding in te voegen</a:t>
            </a:r>
            <a:r>
              <a:rPr lang="en-GB" noProof="0" dirty="0"/>
              <a:t>
</a:t>
            </a:r>
          </a:p>
        </p:txBody>
      </p:sp>
    </p:spTree>
    <p:extLst>
      <p:ext uri="{BB962C8B-B14F-4D97-AF65-F5344CB8AC3E}">
        <p14:creationId xmlns:p14="http://schemas.microsoft.com/office/powerpoint/2010/main" val="3987998988"/>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5760" userDrawn="1">
          <p15:clr>
            <a:srgbClr val="FBAE40"/>
          </p15:clr>
        </p15:guide>
        <p15:guide id="4" orient="horz" pos="3929" userDrawn="1">
          <p15:clr>
            <a:srgbClr val="FBAE40"/>
          </p15:clr>
        </p15:guide>
        <p15:guide id="5" pos="3840" userDrawn="1">
          <p15:clr>
            <a:srgbClr val="FBAE40"/>
          </p15:clr>
        </p15:guide>
        <p15:guide id="6" orient="horz" pos="216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ullet split - gree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F3565DE-939A-49AB-AA1A-A5B02FB3B7C5}"/>
              </a:ext>
            </a:extLst>
          </p:cNvPr>
          <p:cNvGraphicFramePr>
            <a:graphicFrameLocks noChangeAspect="1"/>
          </p:cNvGraphicFramePr>
          <p:nvPr userDrawn="1">
            <p:custDataLst>
              <p:tags r:id="rId1"/>
            </p:custDataLst>
            <p:extLst>
              <p:ext uri="{D42A27DB-BD31-4B8C-83A1-F6EECF244321}">
                <p14:modId xmlns:p14="http://schemas.microsoft.com/office/powerpoint/2010/main" val="3927182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9F3565DE-939A-49AB-AA1A-A5B02FB3B7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8">
            <a:extLst>
              <a:ext uri="{FF2B5EF4-FFF2-40B4-BE49-F238E27FC236}">
                <a16:creationId xmlns:a16="http://schemas.microsoft.com/office/drawing/2014/main" id="{ECA7FCC9-8131-4C83-9D2C-55E30F3F7A17}"/>
              </a:ext>
            </a:extLst>
          </p:cNvPr>
          <p:cNvSpPr/>
          <p:nvPr userDrawn="1"/>
        </p:nvSpPr>
        <p:spPr>
          <a:xfrm>
            <a:off x="5951538" y="0"/>
            <a:ext cx="62499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dirty="0"/>
          </a:p>
        </p:txBody>
      </p:sp>
      <p:sp>
        <p:nvSpPr>
          <p:cNvPr id="11" name="Freeform 13">
            <a:extLst>
              <a:ext uri="{FF2B5EF4-FFF2-40B4-BE49-F238E27FC236}">
                <a16:creationId xmlns:a16="http://schemas.microsoft.com/office/drawing/2014/main" id="{C26A165B-CD53-47C3-8E9B-68311AFA9920}"/>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5025912" cy="601788"/>
          </a:xfrm>
          <a:prstGeom prst="rect">
            <a:avLst/>
          </a:prstGeom>
        </p:spPr>
        <p:txBody>
          <a:bodyPr vert="horz" lIns="0" r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1999"/>
            <a:ext cx="5077628" cy="4995283"/>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6096000" y="1825200"/>
            <a:ext cx="4430184" cy="4412082"/>
          </a:xfrm>
          <a:prstGeom prst="rect">
            <a:avLst/>
          </a:prstGeom>
        </p:spPr>
        <p:txBody>
          <a:bodyPr lIns="90000"/>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6096000" y="1241999"/>
            <a:ext cx="4430184" cy="582613"/>
          </a:xfrm>
          <a:prstGeom prst="rect">
            <a:avLst/>
          </a:prstGeom>
        </p:spPr>
        <p:txBody>
          <a:bodyPr lIns="90000"/>
          <a:lstStyle>
            <a:lvl1pPr>
              <a:defRPr sz="1600"/>
            </a:lvl1pPr>
            <a:lvl2pPr>
              <a:defRPr sz="1200" b="0">
                <a:solidFill>
                  <a:schemeClr val="accent6"/>
                </a:solidFill>
              </a:defRPr>
            </a:lvl2pPr>
          </a:lstStyle>
          <a:p>
            <a:pPr lvl="0"/>
            <a:r>
              <a:rPr lang="nl-NL" noProof="0" dirty="0"/>
              <a:t>Titel</a:t>
            </a:r>
          </a:p>
          <a:p>
            <a:pPr lvl="1"/>
            <a:r>
              <a:rPr lang="nl-NL" noProof="0" dirty="0"/>
              <a:t>Notatie
</a:t>
            </a:r>
          </a:p>
        </p:txBody>
      </p:sp>
      <p:sp>
        <p:nvSpPr>
          <p:cNvPr id="12" name="Vrije vorm: vorm 11">
            <a:extLst>
              <a:ext uri="{FF2B5EF4-FFF2-40B4-BE49-F238E27FC236}">
                <a16:creationId xmlns:a16="http://schemas.microsoft.com/office/drawing/2014/main" id="{B2864AB1-9C58-4293-93C7-C2B1FA839AE0}"/>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673148503"/>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cenario">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84CC593-FA95-46AF-A71D-BC9B0B6DA2D8}"/>
              </a:ext>
            </a:extLst>
          </p:cNvPr>
          <p:cNvGraphicFramePr>
            <a:graphicFrameLocks noChangeAspect="1"/>
          </p:cNvGraphicFramePr>
          <p:nvPr userDrawn="1">
            <p:custDataLst>
              <p:tags r:id="rId1"/>
            </p:custDataLst>
            <p:extLst>
              <p:ext uri="{D42A27DB-BD31-4B8C-83A1-F6EECF244321}">
                <p14:modId xmlns:p14="http://schemas.microsoft.com/office/powerpoint/2010/main" val="3423649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84CC593-FA95-46AF-A71D-BC9B0B6DA2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8">
            <a:extLst>
              <a:ext uri="{FF2B5EF4-FFF2-40B4-BE49-F238E27FC236}">
                <a16:creationId xmlns:a16="http://schemas.microsoft.com/office/drawing/2014/main" id="{ECA7FCC9-8131-4C83-9D2C-55E30F3F7A17}"/>
              </a:ext>
            </a:extLst>
          </p:cNvPr>
          <p:cNvSpPr/>
          <p:nvPr userDrawn="1"/>
        </p:nvSpPr>
        <p:spPr>
          <a:xfrm>
            <a:off x="5951538" y="0"/>
            <a:ext cx="62499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dirty="0"/>
          </a:p>
        </p:txBody>
      </p:sp>
      <p:sp>
        <p:nvSpPr>
          <p:cNvPr id="25" name="Freeform 13">
            <a:extLst>
              <a:ext uri="{FF2B5EF4-FFF2-40B4-BE49-F238E27FC236}">
                <a16:creationId xmlns:a16="http://schemas.microsoft.com/office/drawing/2014/main" id="{5A85FA0D-F797-4B60-B9A3-DD3DB3ED2BAC}"/>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5025912"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825200"/>
            <a:ext cx="5025912"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6096000" y="1242000"/>
            <a:ext cx="4430184" cy="582613"/>
          </a:xfrm>
          <a:prstGeom prst="rect">
            <a:avLst/>
          </a:prstGeom>
        </p:spPr>
        <p:txBody>
          <a:bodyPr lIns="9000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1" name="Tijdelijke aanduiding voor afbeelding 12">
            <a:extLst>
              <a:ext uri="{FF2B5EF4-FFF2-40B4-BE49-F238E27FC236}">
                <a16:creationId xmlns:a16="http://schemas.microsoft.com/office/drawing/2014/main" id="{0386E4FE-26BD-4E84-BC4E-72E5927F07B0}"/>
              </a:ext>
            </a:extLst>
          </p:cNvPr>
          <p:cNvSpPr>
            <a:spLocks noGrp="1"/>
          </p:cNvSpPr>
          <p:nvPr>
            <p:ph type="pic" sz="quarter" idx="14" hasCustomPrompt="1"/>
          </p:nvPr>
        </p:nvSpPr>
        <p:spPr>
          <a:xfrm>
            <a:off x="6211712" y="25336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2" name="Tijdelijke aanduiding voor afbeelding 12">
            <a:extLst>
              <a:ext uri="{FF2B5EF4-FFF2-40B4-BE49-F238E27FC236}">
                <a16:creationId xmlns:a16="http://schemas.microsoft.com/office/drawing/2014/main" id="{745C78AD-D7E5-4344-A34A-5E951E43412E}"/>
              </a:ext>
            </a:extLst>
          </p:cNvPr>
          <p:cNvSpPr>
            <a:spLocks noGrp="1"/>
          </p:cNvSpPr>
          <p:nvPr>
            <p:ph type="pic" sz="quarter" idx="15" hasCustomPrompt="1"/>
          </p:nvPr>
        </p:nvSpPr>
        <p:spPr>
          <a:xfrm>
            <a:off x="7711521" y="25336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3" name="Tijdelijke aanduiding voor afbeelding 12">
            <a:extLst>
              <a:ext uri="{FF2B5EF4-FFF2-40B4-BE49-F238E27FC236}">
                <a16:creationId xmlns:a16="http://schemas.microsoft.com/office/drawing/2014/main" id="{923B5C63-FD90-40F5-9E01-C1D303D1EFEC}"/>
              </a:ext>
            </a:extLst>
          </p:cNvPr>
          <p:cNvSpPr>
            <a:spLocks noGrp="1"/>
          </p:cNvSpPr>
          <p:nvPr>
            <p:ph type="pic" sz="quarter" idx="16" hasCustomPrompt="1"/>
          </p:nvPr>
        </p:nvSpPr>
        <p:spPr>
          <a:xfrm>
            <a:off x="9211331" y="25336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4" name="Tijdelijke aanduiding voor afbeelding 12">
            <a:extLst>
              <a:ext uri="{FF2B5EF4-FFF2-40B4-BE49-F238E27FC236}">
                <a16:creationId xmlns:a16="http://schemas.microsoft.com/office/drawing/2014/main" id="{0676AE98-560E-4CE0-875E-70EE80498F7E}"/>
              </a:ext>
            </a:extLst>
          </p:cNvPr>
          <p:cNvSpPr>
            <a:spLocks noGrp="1"/>
          </p:cNvSpPr>
          <p:nvPr>
            <p:ph type="pic" sz="quarter" idx="17" hasCustomPrompt="1"/>
          </p:nvPr>
        </p:nvSpPr>
        <p:spPr>
          <a:xfrm>
            <a:off x="6888440" y="39052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6" name="Tijdelijke aanduiding voor afbeelding 12">
            <a:extLst>
              <a:ext uri="{FF2B5EF4-FFF2-40B4-BE49-F238E27FC236}">
                <a16:creationId xmlns:a16="http://schemas.microsoft.com/office/drawing/2014/main" id="{96E151C5-C073-46DB-9771-F71A1D9EB007}"/>
              </a:ext>
            </a:extLst>
          </p:cNvPr>
          <p:cNvSpPr>
            <a:spLocks noGrp="1"/>
          </p:cNvSpPr>
          <p:nvPr>
            <p:ph type="pic" sz="quarter" idx="18" hasCustomPrompt="1"/>
          </p:nvPr>
        </p:nvSpPr>
        <p:spPr>
          <a:xfrm>
            <a:off x="8388247" y="3905215"/>
            <a:ext cx="1200000" cy="900000"/>
          </a:xfrm>
          <a:prstGeom prst="rect">
            <a:avLst/>
          </a:prstGeom>
          <a:pattFill prst="ltUpDiag">
            <a:fgClr>
              <a:schemeClr val="accent1"/>
            </a:fgClr>
            <a:bgClr>
              <a:schemeClr val="bg1"/>
            </a:bgClr>
          </a:pattFill>
        </p:spPr>
        <p:txBody>
          <a:bodyPr>
            <a:normAutofit/>
          </a:bodyPr>
          <a:lstStyle>
            <a:lvl1pPr marL="0" indent="0" algn="ctr" rtl="0">
              <a:buNone/>
              <a:defRPr sz="1000" b="0">
                <a:solidFill>
                  <a:schemeClr val="tx1"/>
                </a:solidFill>
              </a:defRPr>
            </a:lvl1pPr>
          </a:lstStyle>
          <a:p>
            <a:r>
              <a:rPr lang="nl-NL" noProof="0"/>
              <a:t>Afbeelding
</a:t>
            </a:r>
          </a:p>
        </p:txBody>
      </p:sp>
      <p:sp>
        <p:nvSpPr>
          <p:cNvPr id="17" name="Tijdelijke aanduiding voor tekst 21">
            <a:extLst>
              <a:ext uri="{FF2B5EF4-FFF2-40B4-BE49-F238E27FC236}">
                <a16:creationId xmlns:a16="http://schemas.microsoft.com/office/drawing/2014/main" id="{82B22842-D38D-47E3-BE3E-B55AF299DFB5}"/>
              </a:ext>
            </a:extLst>
          </p:cNvPr>
          <p:cNvSpPr>
            <a:spLocks noGrp="1"/>
          </p:cNvSpPr>
          <p:nvPr>
            <p:ph type="body" sz="quarter" idx="19" hasCustomPrompt="1"/>
          </p:nvPr>
        </p:nvSpPr>
        <p:spPr>
          <a:xfrm>
            <a:off x="6211712" y="3465973"/>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18" name="Tijdelijke aanduiding voor tekst 21">
            <a:extLst>
              <a:ext uri="{FF2B5EF4-FFF2-40B4-BE49-F238E27FC236}">
                <a16:creationId xmlns:a16="http://schemas.microsoft.com/office/drawing/2014/main" id="{D3AC0486-2D19-462C-90B0-E5126952A61C}"/>
              </a:ext>
            </a:extLst>
          </p:cNvPr>
          <p:cNvSpPr>
            <a:spLocks noGrp="1"/>
          </p:cNvSpPr>
          <p:nvPr>
            <p:ph type="body" sz="quarter" idx="20" hasCustomPrompt="1"/>
          </p:nvPr>
        </p:nvSpPr>
        <p:spPr>
          <a:xfrm>
            <a:off x="7711521" y="3465973"/>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19" name="Tijdelijke aanduiding voor tekst 21">
            <a:extLst>
              <a:ext uri="{FF2B5EF4-FFF2-40B4-BE49-F238E27FC236}">
                <a16:creationId xmlns:a16="http://schemas.microsoft.com/office/drawing/2014/main" id="{D73A32CE-9E95-46BB-88C1-BE2ED62CBBE3}"/>
              </a:ext>
            </a:extLst>
          </p:cNvPr>
          <p:cNvSpPr>
            <a:spLocks noGrp="1"/>
          </p:cNvSpPr>
          <p:nvPr>
            <p:ph type="body" sz="quarter" idx="21" hasCustomPrompt="1"/>
          </p:nvPr>
        </p:nvSpPr>
        <p:spPr>
          <a:xfrm>
            <a:off x="9211331" y="3465972"/>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20" name="Tijdelijke aanduiding voor tekst 21">
            <a:extLst>
              <a:ext uri="{FF2B5EF4-FFF2-40B4-BE49-F238E27FC236}">
                <a16:creationId xmlns:a16="http://schemas.microsoft.com/office/drawing/2014/main" id="{7F4F5C41-7FE5-4A6D-8C37-55760DBFA3AA}"/>
              </a:ext>
            </a:extLst>
          </p:cNvPr>
          <p:cNvSpPr>
            <a:spLocks noGrp="1"/>
          </p:cNvSpPr>
          <p:nvPr>
            <p:ph type="body" sz="quarter" idx="22" hasCustomPrompt="1"/>
          </p:nvPr>
        </p:nvSpPr>
        <p:spPr>
          <a:xfrm>
            <a:off x="6888440" y="4837572"/>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21" name="Tijdelijke aanduiding voor tekst 21">
            <a:extLst>
              <a:ext uri="{FF2B5EF4-FFF2-40B4-BE49-F238E27FC236}">
                <a16:creationId xmlns:a16="http://schemas.microsoft.com/office/drawing/2014/main" id="{49B4C73A-2A39-495E-8BBA-2C994D7A5024}"/>
              </a:ext>
            </a:extLst>
          </p:cNvPr>
          <p:cNvSpPr>
            <a:spLocks noGrp="1"/>
          </p:cNvSpPr>
          <p:nvPr>
            <p:ph type="body" sz="quarter" idx="23" hasCustomPrompt="1"/>
          </p:nvPr>
        </p:nvSpPr>
        <p:spPr>
          <a:xfrm>
            <a:off x="8388247" y="4837572"/>
            <a:ext cx="1200000" cy="252763"/>
          </a:xfrm>
          <a:prstGeom prst="rect">
            <a:avLst/>
          </a:prstGeom>
        </p:spPr>
        <p:txBody>
          <a:bodyPr>
            <a:noAutofit/>
          </a:bodyPr>
          <a:lstStyle>
            <a:lvl1pPr marL="0" indent="0" algn="ctr" rtl="0">
              <a:buNone/>
              <a:defRPr sz="1000" b="0">
                <a:solidFill>
                  <a:schemeClr val="tx1"/>
                </a:solidFill>
              </a:defRPr>
            </a:lvl1pPr>
            <a:lvl2pPr marL="320040" indent="0">
              <a:buNone/>
              <a:defRPr sz="1200"/>
            </a:lvl2pPr>
            <a:lvl3pPr marL="777240" indent="0">
              <a:buNone/>
              <a:defRPr sz="1100"/>
            </a:lvl3pPr>
            <a:lvl4pPr marL="1234440" indent="0">
              <a:buNone/>
              <a:defRPr sz="1050"/>
            </a:lvl4pPr>
            <a:lvl5pPr marL="1691640" indent="0">
              <a:buNone/>
              <a:defRPr sz="1050"/>
            </a:lvl5pPr>
          </a:lstStyle>
          <a:p>
            <a:pPr lvl="0"/>
            <a:r>
              <a:rPr lang="nl-NL" noProof="0"/>
              <a:t>Naam</a:t>
            </a:r>
          </a:p>
        </p:txBody>
      </p:sp>
      <p:sp>
        <p:nvSpPr>
          <p:cNvPr id="24" name="Tijdelijke aanduiding voor tekst 7">
            <a:extLst>
              <a:ext uri="{FF2B5EF4-FFF2-40B4-BE49-F238E27FC236}">
                <a16:creationId xmlns:a16="http://schemas.microsoft.com/office/drawing/2014/main" id="{84CC5CEE-15A7-41E4-A0F8-278C542585AF}"/>
              </a:ext>
            </a:extLst>
          </p:cNvPr>
          <p:cNvSpPr>
            <a:spLocks noGrp="1"/>
          </p:cNvSpPr>
          <p:nvPr>
            <p:ph type="body" sz="quarter" idx="24" hasCustomPrompt="1"/>
          </p:nvPr>
        </p:nvSpPr>
        <p:spPr>
          <a:xfrm>
            <a:off x="1055688" y="1242000"/>
            <a:ext cx="5025912"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23" name="Vrije vorm: vorm 22">
            <a:extLst>
              <a:ext uri="{FF2B5EF4-FFF2-40B4-BE49-F238E27FC236}">
                <a16:creationId xmlns:a16="http://schemas.microsoft.com/office/drawing/2014/main" id="{576D7B78-B516-43FE-B356-43F202CC16EC}"/>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2889826301"/>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ullet split - green righ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C8989A-2CCD-428B-B391-3F55ADADEB4A}"/>
              </a:ext>
            </a:extLst>
          </p:cNvPr>
          <p:cNvGraphicFramePr>
            <a:graphicFrameLocks noChangeAspect="1"/>
          </p:cNvGraphicFramePr>
          <p:nvPr userDrawn="1">
            <p:custDataLst>
              <p:tags r:id="rId1"/>
            </p:custDataLst>
            <p:extLst>
              <p:ext uri="{D42A27DB-BD31-4B8C-83A1-F6EECF244321}">
                <p14:modId xmlns:p14="http://schemas.microsoft.com/office/powerpoint/2010/main" val="1000617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F3C8989A-2CCD-428B-B391-3F55ADADEB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8">
            <a:extLst>
              <a:ext uri="{FF2B5EF4-FFF2-40B4-BE49-F238E27FC236}">
                <a16:creationId xmlns:a16="http://schemas.microsoft.com/office/drawing/2014/main" id="{ECA7FCC9-8131-4C83-9D2C-55E30F3F7A17}"/>
              </a:ext>
            </a:extLst>
          </p:cNvPr>
          <p:cNvSpPr/>
          <p:nvPr userDrawn="1"/>
        </p:nvSpPr>
        <p:spPr>
          <a:xfrm>
            <a:off x="5951538" y="0"/>
            <a:ext cx="62499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dirty="0"/>
          </a:p>
        </p:txBody>
      </p:sp>
      <p:sp>
        <p:nvSpPr>
          <p:cNvPr id="11" name="Freeform 13">
            <a:extLst>
              <a:ext uri="{FF2B5EF4-FFF2-40B4-BE49-F238E27FC236}">
                <a16:creationId xmlns:a16="http://schemas.microsoft.com/office/drawing/2014/main" id="{D125CF1D-9849-4510-9A3A-B85F4127307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4716463" cy="601788"/>
          </a:xfrm>
          <a:prstGeom prst="rect">
            <a:avLst/>
          </a:prstGeom>
        </p:spPr>
        <p:txBody>
          <a:bodyPr vert="horz" lIns="0"/>
          <a:lstStyle>
            <a:lvl1pPr rtl="0">
              <a:defRPr sz="2800" b="1">
                <a:solidFill>
                  <a:schemeClr val="accent1"/>
                </a:solidFill>
              </a:defRPr>
            </a:lvl1pPr>
          </a:lstStyle>
          <a:p>
            <a:r>
              <a:rPr lang="nl-NL" noProof="0" dirty="0"/>
              <a:t>Titel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6096001" y="1241999"/>
            <a:ext cx="4430184" cy="4995283"/>
          </a:xfrm>
          <a:prstGeom prst="rect">
            <a:avLst/>
          </a:prstGeom>
        </p:spPr>
        <p:txBody>
          <a:bodyPr/>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1055689" y="1825200"/>
            <a:ext cx="4716462" cy="4412082"/>
          </a:xfrm>
          <a:prstGeom prst="rect">
            <a:avLst/>
          </a:prstGeom>
        </p:spPr>
        <p:txBody>
          <a:bodyPr lIns="90000"/>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1055688" y="1242000"/>
            <a:ext cx="5025912"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13" name="Vrije vorm: vorm 12">
            <a:extLst>
              <a:ext uri="{FF2B5EF4-FFF2-40B4-BE49-F238E27FC236}">
                <a16:creationId xmlns:a16="http://schemas.microsoft.com/office/drawing/2014/main" id="{8363B73B-DD18-4970-8A93-11B7E2A0A2E0}"/>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478301491"/>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amp; char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1C87287-C2E8-4C34-89BE-3D5BB17E26FF}"/>
              </a:ext>
            </a:extLst>
          </p:cNvPr>
          <p:cNvGraphicFramePr>
            <a:graphicFrameLocks noChangeAspect="1"/>
          </p:cNvGraphicFramePr>
          <p:nvPr userDrawn="1">
            <p:custDataLst>
              <p:tags r:id="rId1"/>
            </p:custDataLst>
            <p:extLst>
              <p:ext uri="{D42A27DB-BD31-4B8C-83A1-F6EECF244321}">
                <p14:modId xmlns:p14="http://schemas.microsoft.com/office/powerpoint/2010/main" val="4170497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41C87287-C2E8-4C34-89BE-3D5BB17E26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3">
            <a:extLst>
              <a:ext uri="{FF2B5EF4-FFF2-40B4-BE49-F238E27FC236}">
                <a16:creationId xmlns:a16="http://schemas.microsoft.com/office/drawing/2014/main" id="{1D2E19B5-82EC-41EB-8E7B-06C8498DCE58}"/>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471025"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9" y="1241999"/>
            <a:ext cx="4716461" cy="4995283"/>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5951538" y="1825200"/>
            <a:ext cx="4574646" cy="4412082"/>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5951538" y="1241999"/>
            <a:ext cx="4574646"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Tree>
    <p:extLst>
      <p:ext uri="{BB962C8B-B14F-4D97-AF65-F5344CB8AC3E}">
        <p14:creationId xmlns:p14="http://schemas.microsoft.com/office/powerpoint/2010/main" val="466899696"/>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mpty ">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786FBD-871F-4F5C-85B6-99A712FE9D6F}"/>
              </a:ext>
            </a:extLst>
          </p:cNvPr>
          <p:cNvGraphicFramePr>
            <a:graphicFrameLocks noChangeAspect="1"/>
          </p:cNvGraphicFramePr>
          <p:nvPr userDrawn="1">
            <p:custDataLst>
              <p:tags r:id="rId1"/>
            </p:custDataLst>
            <p:extLst>
              <p:ext uri="{D42A27DB-BD31-4B8C-83A1-F6EECF244321}">
                <p14:modId xmlns:p14="http://schemas.microsoft.com/office/powerpoint/2010/main" val="2637885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60786FBD-871F-4F5C-85B6-99A712FE9D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3">
            <a:extLst>
              <a:ext uri="{FF2B5EF4-FFF2-40B4-BE49-F238E27FC236}">
                <a16:creationId xmlns:a16="http://schemas.microsoft.com/office/drawing/2014/main" id="{1B157B27-A8D6-4A30-BE71-FFC42122CE53}"/>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926019" y="691200"/>
            <a:ext cx="9599885" cy="601788"/>
          </a:xfrm>
          <a:prstGeom prst="rect">
            <a:avLst/>
          </a:prstGeom>
        </p:spPr>
        <p:txBody>
          <a:bodyPr vert="horz" lIns="0" tIns="46800"/>
          <a:lstStyle>
            <a:lvl1pPr rtl="0">
              <a:defRPr sz="2800" b="1">
                <a:solidFill>
                  <a:schemeClr val="accent1"/>
                </a:solidFill>
              </a:defRPr>
            </a:lvl1pPr>
          </a:lstStyle>
          <a:p>
            <a:r>
              <a:rPr lang="nl-NL" noProof="0" dirty="0"/>
              <a:t>Titel</a:t>
            </a:r>
          </a:p>
        </p:txBody>
      </p:sp>
    </p:spTree>
    <p:extLst>
      <p:ext uri="{BB962C8B-B14F-4D97-AF65-F5344CB8AC3E}">
        <p14:creationId xmlns:p14="http://schemas.microsoft.com/office/powerpoint/2010/main" val="2768409655"/>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0" userDrawn="1">
          <p15:clr>
            <a:srgbClr val="FBAE40"/>
          </p15:clr>
        </p15:guide>
        <p15:guide id="4" orient="horz" pos="3929" userDrawn="1">
          <p15:clr>
            <a:srgbClr val="FBAE40"/>
          </p15:clr>
        </p15:guide>
        <p15:guide id="5" orient="horz" pos="473"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amp; chart lef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87B5B11-BE93-4024-99B6-ED4E079DA9AC}"/>
              </a:ext>
            </a:extLst>
          </p:cNvPr>
          <p:cNvGraphicFramePr>
            <a:graphicFrameLocks noChangeAspect="1"/>
          </p:cNvGraphicFramePr>
          <p:nvPr userDrawn="1">
            <p:custDataLst>
              <p:tags r:id="rId1"/>
            </p:custDataLst>
            <p:extLst>
              <p:ext uri="{D42A27DB-BD31-4B8C-83A1-F6EECF244321}">
                <p14:modId xmlns:p14="http://schemas.microsoft.com/office/powerpoint/2010/main" val="1567877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C87B5B11-BE93-4024-99B6-ED4E079DA9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3">
            <a:extLst>
              <a:ext uri="{FF2B5EF4-FFF2-40B4-BE49-F238E27FC236}">
                <a16:creationId xmlns:a16="http://schemas.microsoft.com/office/drawing/2014/main" id="{6A1728F5-D029-4E6E-BF0D-34E81B70077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469437" cy="601788"/>
          </a:xfrm>
          <a:prstGeom prst="rect">
            <a:avLst/>
          </a:prstGeom>
        </p:spPr>
        <p:txBody>
          <a:bodyPr vert="horz" lIns="0"/>
          <a:lstStyle>
            <a:lvl1pPr>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5951538" y="1241999"/>
            <a:ext cx="4574647" cy="4995283"/>
          </a:xfrm>
          <a:prstGeom prst="rect">
            <a:avLst/>
          </a:prstGeom>
        </p:spPr>
        <p:txBody>
          <a:bodyPr/>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1055689" y="1825200"/>
            <a:ext cx="4716462" cy="4412082"/>
          </a:xfrm>
          <a:prstGeom prst="rect">
            <a:avLst/>
          </a:prstGeom>
        </p:spPr>
        <p:txBody>
          <a:bodyPr lIns="90000"/>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1055688" y="1242000"/>
            <a:ext cx="4716462"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Tree>
    <p:extLst>
      <p:ext uri="{BB962C8B-B14F-4D97-AF65-F5344CB8AC3E}">
        <p14:creationId xmlns:p14="http://schemas.microsoft.com/office/powerpoint/2010/main" val="64194291"/>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Green backgrou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BF51586-3AEC-4582-927B-99AA6C790B57}"/>
              </a:ext>
            </a:extLst>
          </p:cNvPr>
          <p:cNvGraphicFramePr>
            <a:graphicFrameLocks noChangeAspect="1"/>
          </p:cNvGraphicFramePr>
          <p:nvPr userDrawn="1">
            <p:custDataLst>
              <p:tags r:id="rId1"/>
            </p:custDataLst>
            <p:extLst>
              <p:ext uri="{D42A27DB-BD31-4B8C-83A1-F6EECF244321}">
                <p14:modId xmlns:p14="http://schemas.microsoft.com/office/powerpoint/2010/main" val="739415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BBF51586-3AEC-4582-927B-99AA6C790B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reeform 13">
            <a:extLst>
              <a:ext uri="{FF2B5EF4-FFF2-40B4-BE49-F238E27FC236}">
                <a16:creationId xmlns:a16="http://schemas.microsoft.com/office/drawing/2014/main" id="{8D34D08C-7F33-4B8E-9BC7-CD57271031C3}"/>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599885" cy="601788"/>
          </a:xfrm>
          <a:prstGeom prst="rect">
            <a:avLst/>
          </a:prstGeom>
        </p:spPr>
        <p:txBody>
          <a:bodyPr vert="horz" lIns="0"/>
          <a:lstStyle>
            <a:lvl1pPr>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9599885" cy="4502150"/>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level</a:t>
            </a:r>
          </a:p>
          <a:p>
            <a:pPr lvl="3"/>
            <a:r>
              <a:rPr lang="nl-NL" noProof="0" dirty="0"/>
              <a:t>Vierde niveau</a:t>
            </a:r>
          </a:p>
          <a:p>
            <a:pPr lvl="4"/>
            <a:r>
              <a:rPr lang="nl-NL" noProof="0" dirty="0"/>
              <a:t>Vijfde niveau</a:t>
            </a:r>
          </a:p>
        </p:txBody>
      </p:sp>
    </p:spTree>
    <p:extLst>
      <p:ext uri="{BB962C8B-B14F-4D97-AF65-F5344CB8AC3E}">
        <p14:creationId xmlns:p14="http://schemas.microsoft.com/office/powerpoint/2010/main" val="1408242877"/>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page">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E37AA34-C0DC-4C69-A1E9-F9BA0E518547}"/>
              </a:ext>
            </a:extLst>
          </p:cNvPr>
          <p:cNvGraphicFramePr>
            <a:graphicFrameLocks noChangeAspect="1"/>
          </p:cNvGraphicFramePr>
          <p:nvPr userDrawn="1">
            <p:custDataLst>
              <p:tags r:id="rId1"/>
            </p:custDataLst>
            <p:extLst>
              <p:ext uri="{D42A27DB-BD31-4B8C-83A1-F6EECF244321}">
                <p14:modId xmlns:p14="http://schemas.microsoft.com/office/powerpoint/2010/main" val="2394968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CE37AA34-C0DC-4C69-A1E9-F9BA0E5185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Shape 12">
            <a:extLst>
              <a:ext uri="{FF2B5EF4-FFF2-40B4-BE49-F238E27FC236}">
                <a16:creationId xmlns:a16="http://schemas.microsoft.com/office/drawing/2014/main" id="{A0695271-F570-409F-857A-DDA155205D71}"/>
              </a:ext>
            </a:extLst>
          </p:cNvPr>
          <p:cNvSpPr/>
          <p:nvPr userDrawn="1"/>
        </p:nvSpPr>
        <p:spPr>
          <a:xfrm>
            <a:off x="-9528" y="771412"/>
            <a:ext cx="12184856" cy="6095998"/>
          </a:xfrm>
          <a:custGeom>
            <a:avLst/>
            <a:gdLst>
              <a:gd name="connsiteX0" fmla="*/ 0 w 12211050"/>
              <a:gd name="connsiteY0" fmla="*/ 0 h 5286375"/>
              <a:gd name="connsiteX1" fmla="*/ 12211050 w 12211050"/>
              <a:gd name="connsiteY1" fmla="*/ 5286375 h 5286375"/>
              <a:gd name="connsiteX2" fmla="*/ 0 w 12211050"/>
              <a:gd name="connsiteY2" fmla="*/ 5286375 h 5286375"/>
              <a:gd name="connsiteX3" fmla="*/ 0 w 12211050"/>
              <a:gd name="connsiteY3" fmla="*/ 0 h 5286375"/>
              <a:gd name="connsiteX0" fmla="*/ 0 w 12203906"/>
              <a:gd name="connsiteY0" fmla="*/ 0 h 5286375"/>
              <a:gd name="connsiteX1" fmla="*/ 12203906 w 12203906"/>
              <a:gd name="connsiteY1" fmla="*/ 5275227 h 5286375"/>
              <a:gd name="connsiteX2" fmla="*/ 0 w 12203906"/>
              <a:gd name="connsiteY2" fmla="*/ 5286375 h 5286375"/>
              <a:gd name="connsiteX3" fmla="*/ 0 w 12203906"/>
              <a:gd name="connsiteY3" fmla="*/ 0 h 5286375"/>
              <a:gd name="connsiteX0" fmla="*/ 0 w 12203906"/>
              <a:gd name="connsiteY0" fmla="*/ 0 h 5286375"/>
              <a:gd name="connsiteX1" fmla="*/ 12203906 w 12203906"/>
              <a:gd name="connsiteY1" fmla="*/ 5270768 h 5286375"/>
              <a:gd name="connsiteX2" fmla="*/ 0 w 12203906"/>
              <a:gd name="connsiteY2" fmla="*/ 5286375 h 5286375"/>
              <a:gd name="connsiteX3" fmla="*/ 0 w 12203906"/>
              <a:gd name="connsiteY3" fmla="*/ 0 h 5286375"/>
              <a:gd name="connsiteX0" fmla="*/ 0 w 12201525"/>
              <a:gd name="connsiteY0" fmla="*/ 0 h 5286375"/>
              <a:gd name="connsiteX1" fmla="*/ 12201525 w 12201525"/>
              <a:gd name="connsiteY1" fmla="*/ 5277457 h 5286375"/>
              <a:gd name="connsiteX2" fmla="*/ 0 w 12201525"/>
              <a:gd name="connsiteY2" fmla="*/ 5286375 h 5286375"/>
              <a:gd name="connsiteX3" fmla="*/ 0 w 12201525"/>
              <a:gd name="connsiteY3" fmla="*/ 0 h 5286375"/>
              <a:gd name="connsiteX0" fmla="*/ 0 w 12201525"/>
              <a:gd name="connsiteY0" fmla="*/ 0 h 5381237"/>
              <a:gd name="connsiteX1" fmla="*/ 12201525 w 12201525"/>
              <a:gd name="connsiteY1" fmla="*/ 5372319 h 5381237"/>
              <a:gd name="connsiteX2" fmla="*/ 0 w 12201525"/>
              <a:gd name="connsiteY2" fmla="*/ 5381237 h 5381237"/>
              <a:gd name="connsiteX3" fmla="*/ 0 w 12201525"/>
              <a:gd name="connsiteY3" fmla="*/ 0 h 5381237"/>
              <a:gd name="connsiteX0" fmla="*/ 0 w 12201525"/>
              <a:gd name="connsiteY0" fmla="*/ 0 h 5381237"/>
              <a:gd name="connsiteX1" fmla="*/ 11393177 w 12201525"/>
              <a:gd name="connsiteY1" fmla="*/ 5019039 h 5381237"/>
              <a:gd name="connsiteX2" fmla="*/ 12201525 w 12201525"/>
              <a:gd name="connsiteY2" fmla="*/ 5372319 h 5381237"/>
              <a:gd name="connsiteX3" fmla="*/ 0 w 12201525"/>
              <a:gd name="connsiteY3" fmla="*/ 5381237 h 5381237"/>
              <a:gd name="connsiteX4" fmla="*/ 0 w 12201525"/>
              <a:gd name="connsiteY4" fmla="*/ 0 h 5381237"/>
              <a:gd name="connsiteX0" fmla="*/ 0 w 12201525"/>
              <a:gd name="connsiteY0" fmla="*/ 0 h 5381237"/>
              <a:gd name="connsiteX1" fmla="*/ 11378870 w 12201525"/>
              <a:gd name="connsiteY1" fmla="*/ 5036287 h 5381237"/>
              <a:gd name="connsiteX2" fmla="*/ 12201525 w 12201525"/>
              <a:gd name="connsiteY2" fmla="*/ 5372319 h 5381237"/>
              <a:gd name="connsiteX3" fmla="*/ 0 w 12201525"/>
              <a:gd name="connsiteY3" fmla="*/ 5381237 h 5381237"/>
              <a:gd name="connsiteX4" fmla="*/ 0 w 12201525"/>
              <a:gd name="connsiteY4" fmla="*/ 0 h 5381237"/>
              <a:gd name="connsiteX0" fmla="*/ 0 w 12201525"/>
              <a:gd name="connsiteY0" fmla="*/ 0 h 5519217"/>
              <a:gd name="connsiteX1" fmla="*/ 11378870 w 12201525"/>
              <a:gd name="connsiteY1" fmla="*/ 5174267 h 5519217"/>
              <a:gd name="connsiteX2" fmla="*/ 12201525 w 12201525"/>
              <a:gd name="connsiteY2" fmla="*/ 5510299 h 5519217"/>
              <a:gd name="connsiteX3" fmla="*/ 0 w 12201525"/>
              <a:gd name="connsiteY3" fmla="*/ 5519217 h 5519217"/>
              <a:gd name="connsiteX4" fmla="*/ 0 w 12201525"/>
              <a:gd name="connsiteY4" fmla="*/ 0 h 5519217"/>
              <a:gd name="connsiteX0" fmla="*/ 0 w 12201525"/>
              <a:gd name="connsiteY0" fmla="*/ 0 h 5519217"/>
              <a:gd name="connsiteX1" fmla="*/ 11407484 w 12201525"/>
              <a:gd name="connsiteY1" fmla="*/ 5174268 h 5519217"/>
              <a:gd name="connsiteX2" fmla="*/ 12201525 w 12201525"/>
              <a:gd name="connsiteY2" fmla="*/ 5510299 h 5519217"/>
              <a:gd name="connsiteX3" fmla="*/ 0 w 12201525"/>
              <a:gd name="connsiteY3" fmla="*/ 5519217 h 5519217"/>
              <a:gd name="connsiteX4" fmla="*/ 0 w 12201525"/>
              <a:gd name="connsiteY4" fmla="*/ 0 h 5519217"/>
              <a:gd name="connsiteX0" fmla="*/ 0 w 12201525"/>
              <a:gd name="connsiteY0" fmla="*/ 0 h 5519217"/>
              <a:gd name="connsiteX1" fmla="*/ 11378870 w 12201525"/>
              <a:gd name="connsiteY1" fmla="*/ 5208764 h 5519217"/>
              <a:gd name="connsiteX2" fmla="*/ 12201525 w 12201525"/>
              <a:gd name="connsiteY2" fmla="*/ 5510299 h 5519217"/>
              <a:gd name="connsiteX3" fmla="*/ 0 w 12201525"/>
              <a:gd name="connsiteY3" fmla="*/ 5519217 h 5519217"/>
              <a:gd name="connsiteX4" fmla="*/ 0 w 12201525"/>
              <a:gd name="connsiteY4" fmla="*/ 0 h 5519217"/>
              <a:gd name="connsiteX0" fmla="*/ 0 w 12201525"/>
              <a:gd name="connsiteY0" fmla="*/ 0 h 5519217"/>
              <a:gd name="connsiteX1" fmla="*/ 11483788 w 12201525"/>
              <a:gd name="connsiteY1" fmla="*/ 5200141 h 5519217"/>
              <a:gd name="connsiteX2" fmla="*/ 12201525 w 12201525"/>
              <a:gd name="connsiteY2" fmla="*/ 5510299 h 5519217"/>
              <a:gd name="connsiteX3" fmla="*/ 0 w 12201525"/>
              <a:gd name="connsiteY3" fmla="*/ 5519217 h 5519217"/>
              <a:gd name="connsiteX4" fmla="*/ 0 w 12201525"/>
              <a:gd name="connsiteY4" fmla="*/ 0 h 5519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1525" h="5519217">
                <a:moveTo>
                  <a:pt x="0" y="0"/>
                </a:moveTo>
                <a:lnTo>
                  <a:pt x="11483788" y="5200141"/>
                </a:lnTo>
                <a:lnTo>
                  <a:pt x="12201525" y="5510299"/>
                </a:lnTo>
                <a:lnTo>
                  <a:pt x="0" y="5519217"/>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2" name="Freeform: Shape 11">
            <a:extLst>
              <a:ext uri="{FF2B5EF4-FFF2-40B4-BE49-F238E27FC236}">
                <a16:creationId xmlns:a16="http://schemas.microsoft.com/office/drawing/2014/main" id="{CA5197B9-3FB1-4F6F-9744-9B1F026A1E68}"/>
              </a:ext>
            </a:extLst>
          </p:cNvPr>
          <p:cNvSpPr/>
          <p:nvPr userDrawn="1"/>
        </p:nvSpPr>
        <p:spPr>
          <a:xfrm>
            <a:off x="933452" y="-9525"/>
            <a:ext cx="11249025" cy="6874782"/>
          </a:xfrm>
          <a:custGeom>
            <a:avLst/>
            <a:gdLst>
              <a:gd name="connsiteX0" fmla="*/ 0 w 11249025"/>
              <a:gd name="connsiteY0" fmla="*/ 0 h 6867525"/>
              <a:gd name="connsiteX1" fmla="*/ 3971925 w 11249025"/>
              <a:gd name="connsiteY1" fmla="*/ 6867525 h 6867525"/>
              <a:gd name="connsiteX2" fmla="*/ 6743700 w 11249025"/>
              <a:gd name="connsiteY2" fmla="*/ 6867525 h 6867525"/>
              <a:gd name="connsiteX3" fmla="*/ 11249025 w 11249025"/>
              <a:gd name="connsiteY3" fmla="*/ 3143250 h 6867525"/>
              <a:gd name="connsiteX4" fmla="*/ 11249025 w 11249025"/>
              <a:gd name="connsiteY4" fmla="*/ 9525 h 6867525"/>
              <a:gd name="connsiteX5" fmla="*/ 0 w 11249025"/>
              <a:gd name="connsiteY5" fmla="*/ 0 h 686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9025" h="6867525">
                <a:moveTo>
                  <a:pt x="0" y="0"/>
                </a:moveTo>
                <a:lnTo>
                  <a:pt x="3971925" y="6867525"/>
                </a:lnTo>
                <a:lnTo>
                  <a:pt x="6743700" y="6867525"/>
                </a:lnTo>
                <a:lnTo>
                  <a:pt x="11249025" y="3143250"/>
                </a:lnTo>
                <a:lnTo>
                  <a:pt x="11249025" y="9525"/>
                </a:lnTo>
                <a:lnTo>
                  <a:pt x="0" y="0"/>
                </a:lnTo>
                <a:close/>
              </a:path>
            </a:pathLst>
          </a:cu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1" name="Freeform: Shape 10">
            <a:extLst>
              <a:ext uri="{FF2B5EF4-FFF2-40B4-BE49-F238E27FC236}">
                <a16:creationId xmlns:a16="http://schemas.microsoft.com/office/drawing/2014/main" id="{ABEBECF9-53D6-4F15-B120-0BFBAE7FB9AC}"/>
              </a:ext>
            </a:extLst>
          </p:cNvPr>
          <p:cNvSpPr/>
          <p:nvPr userDrawn="1"/>
        </p:nvSpPr>
        <p:spPr>
          <a:xfrm>
            <a:off x="1" y="-9525"/>
            <a:ext cx="12201526" cy="6862763"/>
          </a:xfrm>
          <a:custGeom>
            <a:avLst/>
            <a:gdLst>
              <a:gd name="connsiteX0" fmla="*/ 0 w 12211050"/>
              <a:gd name="connsiteY0" fmla="*/ 1552575 h 6848475"/>
              <a:gd name="connsiteX1" fmla="*/ 12211050 w 12211050"/>
              <a:gd name="connsiteY1" fmla="*/ 6848475 h 6848475"/>
              <a:gd name="connsiteX2" fmla="*/ 12211050 w 12211050"/>
              <a:gd name="connsiteY2" fmla="*/ 0 h 6848475"/>
              <a:gd name="connsiteX3" fmla="*/ 9525 w 12211050"/>
              <a:gd name="connsiteY3" fmla="*/ 0 h 6848475"/>
              <a:gd name="connsiteX4" fmla="*/ 0 w 12211050"/>
              <a:gd name="connsiteY4" fmla="*/ 1552575 h 6848475"/>
              <a:gd name="connsiteX0" fmla="*/ 0 w 12211050"/>
              <a:gd name="connsiteY0" fmla="*/ 1552575 h 6862763"/>
              <a:gd name="connsiteX1" fmla="*/ 12206287 w 12211050"/>
              <a:gd name="connsiteY1" fmla="*/ 6862763 h 6862763"/>
              <a:gd name="connsiteX2" fmla="*/ 12211050 w 12211050"/>
              <a:gd name="connsiteY2" fmla="*/ 0 h 6862763"/>
              <a:gd name="connsiteX3" fmla="*/ 9525 w 12211050"/>
              <a:gd name="connsiteY3" fmla="*/ 0 h 6862763"/>
              <a:gd name="connsiteX4" fmla="*/ 0 w 12211050"/>
              <a:gd name="connsiteY4" fmla="*/ 1552575 h 6862763"/>
              <a:gd name="connsiteX0" fmla="*/ 3175 w 12201525"/>
              <a:gd name="connsiteY0" fmla="*/ 917575 h 6862763"/>
              <a:gd name="connsiteX1" fmla="*/ 12196762 w 12201525"/>
              <a:gd name="connsiteY1" fmla="*/ 6862763 h 6862763"/>
              <a:gd name="connsiteX2" fmla="*/ 12201525 w 12201525"/>
              <a:gd name="connsiteY2" fmla="*/ 0 h 6862763"/>
              <a:gd name="connsiteX3" fmla="*/ 0 w 12201525"/>
              <a:gd name="connsiteY3" fmla="*/ 0 h 6862763"/>
              <a:gd name="connsiteX4" fmla="*/ 3175 w 12201525"/>
              <a:gd name="connsiteY4" fmla="*/ 917575 h 6862763"/>
              <a:gd name="connsiteX0" fmla="*/ 68 w 12211118"/>
              <a:gd name="connsiteY0" fmla="*/ 790575 h 6862763"/>
              <a:gd name="connsiteX1" fmla="*/ 12206355 w 12211118"/>
              <a:gd name="connsiteY1" fmla="*/ 6862763 h 6862763"/>
              <a:gd name="connsiteX2" fmla="*/ 12211118 w 12211118"/>
              <a:gd name="connsiteY2" fmla="*/ 0 h 6862763"/>
              <a:gd name="connsiteX3" fmla="*/ 9593 w 12211118"/>
              <a:gd name="connsiteY3" fmla="*/ 0 h 6862763"/>
              <a:gd name="connsiteX4" fmla="*/ 68 w 12211118"/>
              <a:gd name="connsiteY4" fmla="*/ 790575 h 6862763"/>
              <a:gd name="connsiteX0" fmla="*/ 15875 w 12201525"/>
              <a:gd name="connsiteY0" fmla="*/ 701675 h 6862763"/>
              <a:gd name="connsiteX1" fmla="*/ 12196762 w 12201525"/>
              <a:gd name="connsiteY1" fmla="*/ 6862763 h 6862763"/>
              <a:gd name="connsiteX2" fmla="*/ 12201525 w 12201525"/>
              <a:gd name="connsiteY2" fmla="*/ 0 h 6862763"/>
              <a:gd name="connsiteX3" fmla="*/ 0 w 12201525"/>
              <a:gd name="connsiteY3" fmla="*/ 0 h 6862763"/>
              <a:gd name="connsiteX4" fmla="*/ 15875 w 12201525"/>
              <a:gd name="connsiteY4" fmla="*/ 701675 h 6862763"/>
              <a:gd name="connsiteX0" fmla="*/ 28575 w 12201525"/>
              <a:gd name="connsiteY0" fmla="*/ 625475 h 6862763"/>
              <a:gd name="connsiteX1" fmla="*/ 12196762 w 12201525"/>
              <a:gd name="connsiteY1" fmla="*/ 6862763 h 6862763"/>
              <a:gd name="connsiteX2" fmla="*/ 12201525 w 12201525"/>
              <a:gd name="connsiteY2" fmla="*/ 0 h 6862763"/>
              <a:gd name="connsiteX3" fmla="*/ 0 w 12201525"/>
              <a:gd name="connsiteY3" fmla="*/ 0 h 6862763"/>
              <a:gd name="connsiteX4" fmla="*/ 28575 w 12201525"/>
              <a:gd name="connsiteY4" fmla="*/ 625475 h 6862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1525" h="6862763">
                <a:moveTo>
                  <a:pt x="28575" y="625475"/>
                </a:moveTo>
                <a:cubicBezTo>
                  <a:pt x="4097337" y="2395538"/>
                  <a:pt x="8128000" y="5092700"/>
                  <a:pt x="12196762" y="6862763"/>
                </a:cubicBezTo>
                <a:cubicBezTo>
                  <a:pt x="12198350" y="4575175"/>
                  <a:pt x="12199937" y="2287588"/>
                  <a:pt x="12201525" y="0"/>
                </a:cubicBezTo>
                <a:lnTo>
                  <a:pt x="0" y="0"/>
                </a:lnTo>
                <a:cubicBezTo>
                  <a:pt x="1058" y="305858"/>
                  <a:pt x="27517" y="319617"/>
                  <a:pt x="28575" y="625475"/>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48711" y="3143393"/>
            <a:ext cx="2854167"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55965 w 2873217"/>
              <a:gd name="connsiteY2" fmla="*/ 3622532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17865 w 2873217"/>
              <a:gd name="connsiteY2" fmla="*/ 363205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2628 w 2873217"/>
              <a:gd name="connsiteY2" fmla="*/ 3608244 h 3714150"/>
              <a:gd name="connsiteX3" fmla="*/ 0 w 2873217"/>
              <a:gd name="connsiteY3" fmla="*/ 2357001 h 3714150"/>
              <a:gd name="connsiteX4" fmla="*/ 2872606 w 2873217"/>
              <a:gd name="connsiteY4" fmla="*/ 0 h 3714150"/>
              <a:gd name="connsiteX0" fmla="*/ 2853556 w 2854167"/>
              <a:gd name="connsiteY0" fmla="*/ 0 h 3714150"/>
              <a:gd name="connsiteX1" fmla="*/ 2853556 w 2854167"/>
              <a:gd name="connsiteY1" fmla="*/ 3714150 h 3714150"/>
              <a:gd name="connsiteX2" fmla="*/ 2603578 w 2854167"/>
              <a:gd name="connsiteY2" fmla="*/ 3608244 h 3714150"/>
              <a:gd name="connsiteX3" fmla="*/ 0 w 2854167"/>
              <a:gd name="connsiteY3" fmla="*/ 2342713 h 3714150"/>
              <a:gd name="connsiteX4" fmla="*/ 2853556 w 2854167"/>
              <a:gd name="connsiteY4" fmla="*/ 0 h 3714150"/>
              <a:gd name="connsiteX0" fmla="*/ 2853556 w 2854167"/>
              <a:gd name="connsiteY0" fmla="*/ 0 h 3714150"/>
              <a:gd name="connsiteX1" fmla="*/ 2853556 w 2854167"/>
              <a:gd name="connsiteY1" fmla="*/ 3714150 h 3714150"/>
              <a:gd name="connsiteX2" fmla="*/ 2555953 w 2854167"/>
              <a:gd name="connsiteY2" fmla="*/ 3608244 h 3714150"/>
              <a:gd name="connsiteX3" fmla="*/ 0 w 2854167"/>
              <a:gd name="connsiteY3" fmla="*/ 2342713 h 3714150"/>
              <a:gd name="connsiteX4" fmla="*/ 2853556 w 2854167"/>
              <a:gd name="connsiteY4" fmla="*/ 0 h 3714150"/>
              <a:gd name="connsiteX0" fmla="*/ 2853556 w 2854167"/>
              <a:gd name="connsiteY0" fmla="*/ 0 h 3714150"/>
              <a:gd name="connsiteX1" fmla="*/ 2853556 w 2854167"/>
              <a:gd name="connsiteY1" fmla="*/ 3714150 h 3714150"/>
              <a:gd name="connsiteX2" fmla="*/ 2532141 w 2854167"/>
              <a:gd name="connsiteY2" fmla="*/ 3605863 h 3714150"/>
              <a:gd name="connsiteX3" fmla="*/ 0 w 2854167"/>
              <a:gd name="connsiteY3" fmla="*/ 2342713 h 3714150"/>
              <a:gd name="connsiteX4" fmla="*/ 2853556 w 2854167"/>
              <a:gd name="connsiteY4" fmla="*/ 0 h 3714150"/>
              <a:gd name="connsiteX0" fmla="*/ 2853556 w 2854167"/>
              <a:gd name="connsiteY0" fmla="*/ 0 h 3714150"/>
              <a:gd name="connsiteX1" fmla="*/ 2853556 w 2854167"/>
              <a:gd name="connsiteY1" fmla="*/ 3714150 h 3714150"/>
              <a:gd name="connsiteX2" fmla="*/ 2532141 w 2854167"/>
              <a:gd name="connsiteY2" fmla="*/ 3605863 h 3714150"/>
              <a:gd name="connsiteX3" fmla="*/ 0 w 2854167"/>
              <a:gd name="connsiteY3" fmla="*/ 2342713 h 3714150"/>
              <a:gd name="connsiteX4" fmla="*/ 2853556 w 2854167"/>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4167" h="3714150">
                <a:moveTo>
                  <a:pt x="2853556" y="0"/>
                </a:moveTo>
                <a:cubicBezTo>
                  <a:pt x="2851439" y="1238050"/>
                  <a:pt x="2855673" y="2476100"/>
                  <a:pt x="2853556" y="3714150"/>
                </a:cubicBezTo>
                <a:lnTo>
                  <a:pt x="2532141" y="3605863"/>
                </a:lnTo>
                <a:lnTo>
                  <a:pt x="0" y="2342713"/>
                </a:lnTo>
                <a:lnTo>
                  <a:pt x="2853556" y="0"/>
                </a:lnTo>
                <a:close/>
              </a:path>
            </a:pathLst>
          </a:custGeom>
          <a:gradFill flip="none" rotWithShape="1">
            <a:gsLst>
              <a:gs pos="0">
                <a:schemeClr val="tx2"/>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0" name="Freeform: Shape 9">
            <a:extLst>
              <a:ext uri="{FF2B5EF4-FFF2-40B4-BE49-F238E27FC236}">
                <a16:creationId xmlns:a16="http://schemas.microsoft.com/office/drawing/2014/main" id="{571348FA-57BA-4956-9B31-348AE1E5E7CC}"/>
              </a:ext>
            </a:extLst>
          </p:cNvPr>
          <p:cNvSpPr/>
          <p:nvPr userDrawn="1"/>
        </p:nvSpPr>
        <p:spPr>
          <a:xfrm>
            <a:off x="-9526" y="-9527"/>
            <a:ext cx="4286251" cy="6877051"/>
          </a:xfrm>
          <a:custGeom>
            <a:avLst/>
            <a:gdLst>
              <a:gd name="connsiteX0" fmla="*/ 0 w 4248150"/>
              <a:gd name="connsiteY0" fmla="*/ 0 h 6877050"/>
              <a:gd name="connsiteX1" fmla="*/ 0 w 4248150"/>
              <a:gd name="connsiteY1" fmla="*/ 6877050 h 6877050"/>
              <a:gd name="connsiteX2" fmla="*/ 2914650 w 4248150"/>
              <a:gd name="connsiteY2" fmla="*/ 6877050 h 6877050"/>
              <a:gd name="connsiteX3" fmla="*/ 4248150 w 4248150"/>
              <a:gd name="connsiteY3" fmla="*/ 5753100 h 6877050"/>
              <a:gd name="connsiteX4" fmla="*/ 962025 w 4248150"/>
              <a:gd name="connsiteY4" fmla="*/ 19050 h 6877050"/>
              <a:gd name="connsiteX5" fmla="*/ 0 w 4248150"/>
              <a:gd name="connsiteY5" fmla="*/ 0 h 6877050"/>
              <a:gd name="connsiteX0" fmla="*/ 0 w 4248150"/>
              <a:gd name="connsiteY0" fmla="*/ 1 h 6877051"/>
              <a:gd name="connsiteX1" fmla="*/ 0 w 4248150"/>
              <a:gd name="connsiteY1" fmla="*/ 6877051 h 6877051"/>
              <a:gd name="connsiteX2" fmla="*/ 2914650 w 4248150"/>
              <a:gd name="connsiteY2" fmla="*/ 6877051 h 6877051"/>
              <a:gd name="connsiteX3" fmla="*/ 4248150 w 4248150"/>
              <a:gd name="connsiteY3" fmla="*/ 5753101 h 6877051"/>
              <a:gd name="connsiteX4" fmla="*/ 952500 w 4248150"/>
              <a:gd name="connsiteY4" fmla="*/ 0 h 6877051"/>
              <a:gd name="connsiteX5" fmla="*/ 0 w 4248150"/>
              <a:gd name="connsiteY5" fmla="*/ 1 h 6877051"/>
              <a:gd name="connsiteX0" fmla="*/ 0 w 4286250"/>
              <a:gd name="connsiteY0" fmla="*/ 1 h 6877051"/>
              <a:gd name="connsiteX1" fmla="*/ 0 w 4286250"/>
              <a:gd name="connsiteY1" fmla="*/ 6877051 h 6877051"/>
              <a:gd name="connsiteX2" fmla="*/ 29146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53101 h 6877051"/>
              <a:gd name="connsiteX4" fmla="*/ 952500 w 4286250"/>
              <a:gd name="connsiteY4" fmla="*/ 0 h 6877051"/>
              <a:gd name="connsiteX5" fmla="*/ 0 w 4286250"/>
              <a:gd name="connsiteY5" fmla="*/ 1 h 687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6250" h="6877051">
                <a:moveTo>
                  <a:pt x="0" y="1"/>
                </a:moveTo>
                <a:lnTo>
                  <a:pt x="0" y="6877051"/>
                </a:lnTo>
                <a:lnTo>
                  <a:pt x="2927350" y="6877051"/>
                </a:lnTo>
                <a:lnTo>
                  <a:pt x="4286250" y="5753101"/>
                </a:lnTo>
                <a:lnTo>
                  <a:pt x="952500" y="0"/>
                </a:lnTo>
                <a:lnTo>
                  <a:pt x="0" y="1"/>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noProof="0" dirty="0"/>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accent1"/>
                </a:solidFill>
              </a:defRPr>
            </a:lvl1pPr>
            <a:lvl2pPr marL="342900" indent="0">
              <a:buNone/>
              <a:defRPr/>
            </a:lvl2pPr>
          </a:lstStyle>
          <a:p>
            <a:pPr lvl="0"/>
            <a:r>
              <a:rPr lang="nl-NL" noProof="0" dirty="0"/>
              <a:t>Titel</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tx1"/>
                </a:solidFill>
              </a:defRPr>
            </a:lvl1pPr>
          </a:lstStyle>
          <a:p>
            <a:pPr lvl="0"/>
            <a:r>
              <a:rPr lang="nl-NL" noProof="0" dirty="0"/>
              <a:t>Ruimte voor ondertiteling</a:t>
            </a:r>
            <a:r>
              <a:rPr lang="en-GB" noProof="0" dirty="0"/>
              <a:t>
</a:t>
            </a:r>
          </a:p>
        </p:txBody>
      </p:sp>
      <p:sp>
        <p:nvSpPr>
          <p:cNvPr id="34" name="Freeform: Shape 33">
            <a:extLst>
              <a:ext uri="{FF2B5EF4-FFF2-40B4-BE49-F238E27FC236}">
                <a16:creationId xmlns:a16="http://schemas.microsoft.com/office/drawing/2014/main" id="{2A52F2AF-1BD3-482F-8024-ED87C89BBC0E}"/>
              </a:ext>
            </a:extLst>
          </p:cNvPr>
          <p:cNvSpPr/>
          <p:nvPr userDrawn="1"/>
        </p:nvSpPr>
        <p:spPr>
          <a:xfrm>
            <a:off x="2916766" y="5740665"/>
            <a:ext cx="2025227" cy="1126755"/>
          </a:xfrm>
          <a:custGeom>
            <a:avLst/>
            <a:gdLst>
              <a:gd name="connsiteX0" fmla="*/ 0 w 2025226"/>
              <a:gd name="connsiteY0" fmla="*/ 1124374 h 1124374"/>
              <a:gd name="connsiteX1" fmla="*/ 1361440 w 2025226"/>
              <a:gd name="connsiteY1" fmla="*/ 0 h 1124374"/>
              <a:gd name="connsiteX2" fmla="*/ 2025226 w 2025226"/>
              <a:gd name="connsiteY2" fmla="*/ 1117600 h 1124374"/>
              <a:gd name="connsiteX3" fmla="*/ 0 w 2025226"/>
              <a:gd name="connsiteY3" fmla="*/ 1124374 h 1124374"/>
              <a:gd name="connsiteX0" fmla="*/ 0 w 2025226"/>
              <a:gd name="connsiteY0" fmla="*/ 1129137 h 1129137"/>
              <a:gd name="connsiteX1" fmla="*/ 1370965 w 2025226"/>
              <a:gd name="connsiteY1" fmla="*/ 0 h 1129137"/>
              <a:gd name="connsiteX2" fmla="*/ 2025226 w 2025226"/>
              <a:gd name="connsiteY2" fmla="*/ 1122363 h 1129137"/>
              <a:gd name="connsiteX3" fmla="*/ 0 w 2025226"/>
              <a:gd name="connsiteY3" fmla="*/ 1129137 h 1129137"/>
              <a:gd name="connsiteX0" fmla="*/ 0 w 2025226"/>
              <a:gd name="connsiteY0" fmla="*/ 1141043 h 1141043"/>
              <a:gd name="connsiteX1" fmla="*/ 1361440 w 2025226"/>
              <a:gd name="connsiteY1" fmla="*/ 0 h 1141043"/>
              <a:gd name="connsiteX2" fmla="*/ 2025226 w 2025226"/>
              <a:gd name="connsiteY2" fmla="*/ 1134269 h 1141043"/>
              <a:gd name="connsiteX3" fmla="*/ 0 w 2025226"/>
              <a:gd name="connsiteY3" fmla="*/ 1141043 h 1141043"/>
              <a:gd name="connsiteX0" fmla="*/ 0 w 2025226"/>
              <a:gd name="connsiteY0" fmla="*/ 1141043 h 1141043"/>
              <a:gd name="connsiteX1" fmla="*/ 1361440 w 2025226"/>
              <a:gd name="connsiteY1" fmla="*/ 0 h 1141043"/>
              <a:gd name="connsiteX2" fmla="*/ 2025226 w 2025226"/>
              <a:gd name="connsiteY2" fmla="*/ 1124744 h 1141043"/>
              <a:gd name="connsiteX3" fmla="*/ 0 w 2025226"/>
              <a:gd name="connsiteY3" fmla="*/ 1141043 h 1141043"/>
              <a:gd name="connsiteX0" fmla="*/ 0 w 2025226"/>
              <a:gd name="connsiteY0" fmla="*/ 1126755 h 1126755"/>
              <a:gd name="connsiteX1" fmla="*/ 1361440 w 2025226"/>
              <a:gd name="connsiteY1" fmla="*/ 0 h 1126755"/>
              <a:gd name="connsiteX2" fmla="*/ 2025226 w 2025226"/>
              <a:gd name="connsiteY2" fmla="*/ 1124744 h 1126755"/>
              <a:gd name="connsiteX3" fmla="*/ 0 w 2025226"/>
              <a:gd name="connsiteY3" fmla="*/ 1126755 h 1126755"/>
            </a:gdLst>
            <a:ahLst/>
            <a:cxnLst>
              <a:cxn ang="0">
                <a:pos x="connsiteX0" y="connsiteY0"/>
              </a:cxn>
              <a:cxn ang="0">
                <a:pos x="connsiteX1" y="connsiteY1"/>
              </a:cxn>
              <a:cxn ang="0">
                <a:pos x="connsiteX2" y="connsiteY2"/>
              </a:cxn>
              <a:cxn ang="0">
                <a:pos x="connsiteX3" y="connsiteY3"/>
              </a:cxn>
            </a:cxnLst>
            <a:rect l="l" t="t" r="r" b="b"/>
            <a:pathLst>
              <a:path w="2025226" h="1126755">
                <a:moveTo>
                  <a:pt x="0" y="1126755"/>
                </a:moveTo>
                <a:lnTo>
                  <a:pt x="1361440" y="0"/>
                </a:lnTo>
                <a:lnTo>
                  <a:pt x="2025226" y="1124744"/>
                </a:lnTo>
                <a:lnTo>
                  <a:pt x="0" y="1126755"/>
                </a:lnTo>
                <a:close/>
              </a:path>
            </a:pathLst>
          </a:custGeom>
          <a:gradFill flip="none" rotWithShape="1">
            <a:gsLst>
              <a:gs pos="0">
                <a:schemeClr val="bg1"/>
              </a:gs>
              <a:gs pos="57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5" name="Freeform 13">
            <a:extLst>
              <a:ext uri="{FF2B5EF4-FFF2-40B4-BE49-F238E27FC236}">
                <a16:creationId xmlns:a16="http://schemas.microsoft.com/office/drawing/2014/main" id="{6D7AD661-DF20-4884-B330-435E5009E890}"/>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6" name="Vrije vorm: vorm 15">
            <a:extLst>
              <a:ext uri="{FF2B5EF4-FFF2-40B4-BE49-F238E27FC236}">
                <a16:creationId xmlns:a16="http://schemas.microsoft.com/office/drawing/2014/main" id="{EB9E018E-E1E6-432B-9338-2A6A1E5CB87A}"/>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42895872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 dar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272AB7-E486-4D23-8974-C21C6B95F9C2}"/>
              </a:ext>
            </a:extLst>
          </p:cNvPr>
          <p:cNvGraphicFramePr>
            <a:graphicFrameLocks noChangeAspect="1"/>
          </p:cNvGraphicFramePr>
          <p:nvPr userDrawn="1">
            <p:custDataLst>
              <p:tags r:id="rId1"/>
            </p:custDataLst>
            <p:extLst>
              <p:ext uri="{D42A27DB-BD31-4B8C-83A1-F6EECF244321}">
                <p14:modId xmlns:p14="http://schemas.microsoft.com/office/powerpoint/2010/main" val="1750287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B4272AB7-E486-4D23-8974-C21C6B95F9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Shape 12">
            <a:extLst>
              <a:ext uri="{FF2B5EF4-FFF2-40B4-BE49-F238E27FC236}">
                <a16:creationId xmlns:a16="http://schemas.microsoft.com/office/drawing/2014/main" id="{A0695271-F570-409F-857A-DDA155205D71}"/>
              </a:ext>
            </a:extLst>
          </p:cNvPr>
          <p:cNvSpPr/>
          <p:nvPr userDrawn="1"/>
        </p:nvSpPr>
        <p:spPr>
          <a:xfrm>
            <a:off x="-9525" y="1028701"/>
            <a:ext cx="12201525" cy="5836557"/>
          </a:xfrm>
          <a:custGeom>
            <a:avLst/>
            <a:gdLst>
              <a:gd name="connsiteX0" fmla="*/ 0 w 12211050"/>
              <a:gd name="connsiteY0" fmla="*/ 0 h 5286375"/>
              <a:gd name="connsiteX1" fmla="*/ 12211050 w 12211050"/>
              <a:gd name="connsiteY1" fmla="*/ 5286375 h 5286375"/>
              <a:gd name="connsiteX2" fmla="*/ 0 w 12211050"/>
              <a:gd name="connsiteY2" fmla="*/ 5286375 h 5286375"/>
              <a:gd name="connsiteX3" fmla="*/ 0 w 12211050"/>
              <a:gd name="connsiteY3" fmla="*/ 0 h 5286375"/>
              <a:gd name="connsiteX0" fmla="*/ 0 w 12203906"/>
              <a:gd name="connsiteY0" fmla="*/ 0 h 5286375"/>
              <a:gd name="connsiteX1" fmla="*/ 12203906 w 12203906"/>
              <a:gd name="connsiteY1" fmla="*/ 5275227 h 5286375"/>
              <a:gd name="connsiteX2" fmla="*/ 0 w 12203906"/>
              <a:gd name="connsiteY2" fmla="*/ 5286375 h 5286375"/>
              <a:gd name="connsiteX3" fmla="*/ 0 w 12203906"/>
              <a:gd name="connsiteY3" fmla="*/ 0 h 5286375"/>
              <a:gd name="connsiteX0" fmla="*/ 0 w 12203906"/>
              <a:gd name="connsiteY0" fmla="*/ 0 h 5286375"/>
              <a:gd name="connsiteX1" fmla="*/ 12203906 w 12203906"/>
              <a:gd name="connsiteY1" fmla="*/ 5270768 h 5286375"/>
              <a:gd name="connsiteX2" fmla="*/ 0 w 12203906"/>
              <a:gd name="connsiteY2" fmla="*/ 5286375 h 5286375"/>
              <a:gd name="connsiteX3" fmla="*/ 0 w 12203906"/>
              <a:gd name="connsiteY3" fmla="*/ 0 h 5286375"/>
              <a:gd name="connsiteX0" fmla="*/ 0 w 12201525"/>
              <a:gd name="connsiteY0" fmla="*/ 0 h 5286375"/>
              <a:gd name="connsiteX1" fmla="*/ 12201525 w 12201525"/>
              <a:gd name="connsiteY1" fmla="*/ 5277457 h 5286375"/>
              <a:gd name="connsiteX2" fmla="*/ 0 w 12201525"/>
              <a:gd name="connsiteY2" fmla="*/ 5286375 h 5286375"/>
              <a:gd name="connsiteX3" fmla="*/ 0 w 12201525"/>
              <a:gd name="connsiteY3" fmla="*/ 0 h 5286375"/>
            </a:gdLst>
            <a:ahLst/>
            <a:cxnLst>
              <a:cxn ang="0">
                <a:pos x="connsiteX0" y="connsiteY0"/>
              </a:cxn>
              <a:cxn ang="0">
                <a:pos x="connsiteX1" y="connsiteY1"/>
              </a:cxn>
              <a:cxn ang="0">
                <a:pos x="connsiteX2" y="connsiteY2"/>
              </a:cxn>
              <a:cxn ang="0">
                <a:pos x="connsiteX3" y="connsiteY3"/>
              </a:cxn>
            </a:cxnLst>
            <a:rect l="l" t="t" r="r" b="b"/>
            <a:pathLst>
              <a:path w="12201525" h="5286375">
                <a:moveTo>
                  <a:pt x="0" y="0"/>
                </a:moveTo>
                <a:lnTo>
                  <a:pt x="12201525" y="5277457"/>
                </a:lnTo>
                <a:lnTo>
                  <a:pt x="0" y="5286375"/>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2" name="Freeform: Shape 11">
            <a:extLst>
              <a:ext uri="{FF2B5EF4-FFF2-40B4-BE49-F238E27FC236}">
                <a16:creationId xmlns:a16="http://schemas.microsoft.com/office/drawing/2014/main" id="{CA5197B9-3FB1-4F6F-9744-9B1F026A1E68}"/>
              </a:ext>
            </a:extLst>
          </p:cNvPr>
          <p:cNvSpPr/>
          <p:nvPr userDrawn="1"/>
        </p:nvSpPr>
        <p:spPr>
          <a:xfrm>
            <a:off x="933452" y="-9525"/>
            <a:ext cx="11249025" cy="6874782"/>
          </a:xfrm>
          <a:custGeom>
            <a:avLst/>
            <a:gdLst>
              <a:gd name="connsiteX0" fmla="*/ 0 w 11249025"/>
              <a:gd name="connsiteY0" fmla="*/ 0 h 6867525"/>
              <a:gd name="connsiteX1" fmla="*/ 3971925 w 11249025"/>
              <a:gd name="connsiteY1" fmla="*/ 6867525 h 6867525"/>
              <a:gd name="connsiteX2" fmla="*/ 6743700 w 11249025"/>
              <a:gd name="connsiteY2" fmla="*/ 6867525 h 6867525"/>
              <a:gd name="connsiteX3" fmla="*/ 11249025 w 11249025"/>
              <a:gd name="connsiteY3" fmla="*/ 3143250 h 6867525"/>
              <a:gd name="connsiteX4" fmla="*/ 11249025 w 11249025"/>
              <a:gd name="connsiteY4" fmla="*/ 9525 h 6867525"/>
              <a:gd name="connsiteX5" fmla="*/ 0 w 11249025"/>
              <a:gd name="connsiteY5" fmla="*/ 0 h 686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9025" h="6867525">
                <a:moveTo>
                  <a:pt x="0" y="0"/>
                </a:moveTo>
                <a:lnTo>
                  <a:pt x="3971925" y="6867525"/>
                </a:lnTo>
                <a:lnTo>
                  <a:pt x="6743700" y="6867525"/>
                </a:lnTo>
                <a:lnTo>
                  <a:pt x="11249025" y="3143250"/>
                </a:lnTo>
                <a:lnTo>
                  <a:pt x="11249025" y="9525"/>
                </a:lnTo>
                <a:lnTo>
                  <a:pt x="0" y="0"/>
                </a:lnTo>
                <a:close/>
              </a:path>
            </a:pathLst>
          </a:custGeom>
          <a:gradFill flip="none" rotWithShape="1">
            <a:gsLst>
              <a:gs pos="4300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1" name="Freeform: Shape 10">
            <a:extLst>
              <a:ext uri="{FF2B5EF4-FFF2-40B4-BE49-F238E27FC236}">
                <a16:creationId xmlns:a16="http://schemas.microsoft.com/office/drawing/2014/main" id="{ABEBECF9-53D6-4F15-B120-0BFBAE7FB9AC}"/>
              </a:ext>
            </a:extLst>
          </p:cNvPr>
          <p:cNvSpPr/>
          <p:nvPr userDrawn="1"/>
        </p:nvSpPr>
        <p:spPr>
          <a:xfrm>
            <a:off x="-9593" y="-9525"/>
            <a:ext cx="12211119" cy="6862763"/>
          </a:xfrm>
          <a:custGeom>
            <a:avLst/>
            <a:gdLst>
              <a:gd name="connsiteX0" fmla="*/ 0 w 12211050"/>
              <a:gd name="connsiteY0" fmla="*/ 1552575 h 6848475"/>
              <a:gd name="connsiteX1" fmla="*/ 12211050 w 12211050"/>
              <a:gd name="connsiteY1" fmla="*/ 6848475 h 6848475"/>
              <a:gd name="connsiteX2" fmla="*/ 12211050 w 12211050"/>
              <a:gd name="connsiteY2" fmla="*/ 0 h 6848475"/>
              <a:gd name="connsiteX3" fmla="*/ 9525 w 12211050"/>
              <a:gd name="connsiteY3" fmla="*/ 0 h 6848475"/>
              <a:gd name="connsiteX4" fmla="*/ 0 w 12211050"/>
              <a:gd name="connsiteY4" fmla="*/ 1552575 h 6848475"/>
              <a:gd name="connsiteX0" fmla="*/ 0 w 12211050"/>
              <a:gd name="connsiteY0" fmla="*/ 1552575 h 6862763"/>
              <a:gd name="connsiteX1" fmla="*/ 12206287 w 12211050"/>
              <a:gd name="connsiteY1" fmla="*/ 6862763 h 6862763"/>
              <a:gd name="connsiteX2" fmla="*/ 12211050 w 12211050"/>
              <a:gd name="connsiteY2" fmla="*/ 0 h 6862763"/>
              <a:gd name="connsiteX3" fmla="*/ 9525 w 12211050"/>
              <a:gd name="connsiteY3" fmla="*/ 0 h 6862763"/>
              <a:gd name="connsiteX4" fmla="*/ 0 w 12211050"/>
              <a:gd name="connsiteY4" fmla="*/ 1552575 h 6862763"/>
              <a:gd name="connsiteX0" fmla="*/ 3175 w 12201525"/>
              <a:gd name="connsiteY0" fmla="*/ 917575 h 6862763"/>
              <a:gd name="connsiteX1" fmla="*/ 12196762 w 12201525"/>
              <a:gd name="connsiteY1" fmla="*/ 6862763 h 6862763"/>
              <a:gd name="connsiteX2" fmla="*/ 12201525 w 12201525"/>
              <a:gd name="connsiteY2" fmla="*/ 0 h 6862763"/>
              <a:gd name="connsiteX3" fmla="*/ 0 w 12201525"/>
              <a:gd name="connsiteY3" fmla="*/ 0 h 6862763"/>
              <a:gd name="connsiteX4" fmla="*/ 3175 w 12201525"/>
              <a:gd name="connsiteY4" fmla="*/ 917575 h 6862763"/>
              <a:gd name="connsiteX0" fmla="*/ 68 w 12211118"/>
              <a:gd name="connsiteY0" fmla="*/ 790575 h 6862763"/>
              <a:gd name="connsiteX1" fmla="*/ 12206355 w 12211118"/>
              <a:gd name="connsiteY1" fmla="*/ 6862763 h 6862763"/>
              <a:gd name="connsiteX2" fmla="*/ 12211118 w 12211118"/>
              <a:gd name="connsiteY2" fmla="*/ 0 h 6862763"/>
              <a:gd name="connsiteX3" fmla="*/ 9593 w 12211118"/>
              <a:gd name="connsiteY3" fmla="*/ 0 h 6862763"/>
              <a:gd name="connsiteX4" fmla="*/ 68 w 12211118"/>
              <a:gd name="connsiteY4" fmla="*/ 790575 h 6862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11118" h="6862763">
                <a:moveTo>
                  <a:pt x="68" y="790575"/>
                </a:moveTo>
                <a:cubicBezTo>
                  <a:pt x="4068830" y="2560638"/>
                  <a:pt x="8137593" y="5092700"/>
                  <a:pt x="12206355" y="6862763"/>
                </a:cubicBezTo>
                <a:cubicBezTo>
                  <a:pt x="12207943" y="4575175"/>
                  <a:pt x="12209530" y="2287588"/>
                  <a:pt x="12211118" y="0"/>
                </a:cubicBezTo>
                <a:lnTo>
                  <a:pt x="9593" y="0"/>
                </a:lnTo>
                <a:cubicBezTo>
                  <a:pt x="10651" y="305858"/>
                  <a:pt x="-990" y="484717"/>
                  <a:pt x="68" y="790575"/>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29661" y="3143393"/>
            <a:ext cx="2873217"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3217" h="3714150">
                <a:moveTo>
                  <a:pt x="2872606" y="0"/>
                </a:moveTo>
                <a:cubicBezTo>
                  <a:pt x="2870489" y="1238050"/>
                  <a:pt x="2874723" y="2476100"/>
                  <a:pt x="2872606" y="3714150"/>
                </a:cubicBezTo>
                <a:lnTo>
                  <a:pt x="2627390" y="3632057"/>
                </a:lnTo>
                <a:lnTo>
                  <a:pt x="0" y="2357001"/>
                </a:lnTo>
                <a:lnTo>
                  <a:pt x="2872606" y="0"/>
                </a:lnTo>
                <a:close/>
              </a:path>
            </a:pathLst>
          </a:custGeom>
          <a:gradFill flip="none" rotWithShape="1">
            <a:gsLst>
              <a:gs pos="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0" name="Freeform: Shape 9">
            <a:extLst>
              <a:ext uri="{FF2B5EF4-FFF2-40B4-BE49-F238E27FC236}">
                <a16:creationId xmlns:a16="http://schemas.microsoft.com/office/drawing/2014/main" id="{571348FA-57BA-4956-9B31-348AE1E5E7CC}"/>
              </a:ext>
            </a:extLst>
          </p:cNvPr>
          <p:cNvSpPr/>
          <p:nvPr userDrawn="1"/>
        </p:nvSpPr>
        <p:spPr>
          <a:xfrm>
            <a:off x="-9526" y="-9527"/>
            <a:ext cx="4286251" cy="6877051"/>
          </a:xfrm>
          <a:custGeom>
            <a:avLst/>
            <a:gdLst>
              <a:gd name="connsiteX0" fmla="*/ 0 w 4248150"/>
              <a:gd name="connsiteY0" fmla="*/ 0 h 6877050"/>
              <a:gd name="connsiteX1" fmla="*/ 0 w 4248150"/>
              <a:gd name="connsiteY1" fmla="*/ 6877050 h 6877050"/>
              <a:gd name="connsiteX2" fmla="*/ 2914650 w 4248150"/>
              <a:gd name="connsiteY2" fmla="*/ 6877050 h 6877050"/>
              <a:gd name="connsiteX3" fmla="*/ 4248150 w 4248150"/>
              <a:gd name="connsiteY3" fmla="*/ 5753100 h 6877050"/>
              <a:gd name="connsiteX4" fmla="*/ 962025 w 4248150"/>
              <a:gd name="connsiteY4" fmla="*/ 19050 h 6877050"/>
              <a:gd name="connsiteX5" fmla="*/ 0 w 4248150"/>
              <a:gd name="connsiteY5" fmla="*/ 0 h 6877050"/>
              <a:gd name="connsiteX0" fmla="*/ 0 w 4248150"/>
              <a:gd name="connsiteY0" fmla="*/ 1 h 6877051"/>
              <a:gd name="connsiteX1" fmla="*/ 0 w 4248150"/>
              <a:gd name="connsiteY1" fmla="*/ 6877051 h 6877051"/>
              <a:gd name="connsiteX2" fmla="*/ 2914650 w 4248150"/>
              <a:gd name="connsiteY2" fmla="*/ 6877051 h 6877051"/>
              <a:gd name="connsiteX3" fmla="*/ 4248150 w 4248150"/>
              <a:gd name="connsiteY3" fmla="*/ 5753101 h 6877051"/>
              <a:gd name="connsiteX4" fmla="*/ 952500 w 4248150"/>
              <a:gd name="connsiteY4" fmla="*/ 0 h 6877051"/>
              <a:gd name="connsiteX5" fmla="*/ 0 w 4248150"/>
              <a:gd name="connsiteY5" fmla="*/ 1 h 6877051"/>
              <a:gd name="connsiteX0" fmla="*/ 0 w 4286250"/>
              <a:gd name="connsiteY0" fmla="*/ 1 h 6877051"/>
              <a:gd name="connsiteX1" fmla="*/ 0 w 4286250"/>
              <a:gd name="connsiteY1" fmla="*/ 6877051 h 6877051"/>
              <a:gd name="connsiteX2" fmla="*/ 29146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53101 h 6877051"/>
              <a:gd name="connsiteX4" fmla="*/ 952500 w 4286250"/>
              <a:gd name="connsiteY4" fmla="*/ 0 h 6877051"/>
              <a:gd name="connsiteX5" fmla="*/ 0 w 4286250"/>
              <a:gd name="connsiteY5" fmla="*/ 1 h 687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6250" h="6877051">
                <a:moveTo>
                  <a:pt x="0" y="1"/>
                </a:moveTo>
                <a:lnTo>
                  <a:pt x="0" y="6877051"/>
                </a:lnTo>
                <a:lnTo>
                  <a:pt x="2927350" y="6877051"/>
                </a:lnTo>
                <a:lnTo>
                  <a:pt x="4286250" y="5753101"/>
                </a:lnTo>
                <a:lnTo>
                  <a:pt x="952500" y="0"/>
                </a:lnTo>
                <a:lnTo>
                  <a:pt x="0" y="1"/>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noProof="0" dirty="0"/>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bg1"/>
                </a:solidFill>
              </a:defRPr>
            </a:lvl1pPr>
            <a:lvl2pPr marL="342900" indent="0">
              <a:buNone/>
              <a:defRPr/>
            </a:lvl2pPr>
          </a:lstStyle>
          <a:p>
            <a:pPr lvl="0"/>
            <a:r>
              <a:rPr lang="nl-NL" noProof="0" dirty="0"/>
              <a:t>Titel</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bg1"/>
                </a:solidFill>
              </a:defRPr>
            </a:lvl1pPr>
          </a:lstStyle>
          <a:p>
            <a:pPr lvl="0"/>
            <a:r>
              <a:rPr lang="nl-NL" noProof="0" dirty="0"/>
              <a:t>Ruimte voor ondertiteling
</a:t>
            </a:r>
          </a:p>
        </p:txBody>
      </p:sp>
      <p:sp>
        <p:nvSpPr>
          <p:cNvPr id="34" name="Freeform: Shape 33">
            <a:extLst>
              <a:ext uri="{FF2B5EF4-FFF2-40B4-BE49-F238E27FC236}">
                <a16:creationId xmlns:a16="http://schemas.microsoft.com/office/drawing/2014/main" id="{2A52F2AF-1BD3-482F-8024-ED87C89BBC0E}"/>
              </a:ext>
            </a:extLst>
          </p:cNvPr>
          <p:cNvSpPr/>
          <p:nvPr userDrawn="1"/>
        </p:nvSpPr>
        <p:spPr>
          <a:xfrm>
            <a:off x="2916766" y="5740665"/>
            <a:ext cx="2025227" cy="1126755"/>
          </a:xfrm>
          <a:custGeom>
            <a:avLst/>
            <a:gdLst>
              <a:gd name="connsiteX0" fmla="*/ 0 w 2025226"/>
              <a:gd name="connsiteY0" fmla="*/ 1124374 h 1124374"/>
              <a:gd name="connsiteX1" fmla="*/ 1361440 w 2025226"/>
              <a:gd name="connsiteY1" fmla="*/ 0 h 1124374"/>
              <a:gd name="connsiteX2" fmla="*/ 2025226 w 2025226"/>
              <a:gd name="connsiteY2" fmla="*/ 1117600 h 1124374"/>
              <a:gd name="connsiteX3" fmla="*/ 0 w 2025226"/>
              <a:gd name="connsiteY3" fmla="*/ 1124374 h 1124374"/>
              <a:gd name="connsiteX0" fmla="*/ 0 w 2025226"/>
              <a:gd name="connsiteY0" fmla="*/ 1129137 h 1129137"/>
              <a:gd name="connsiteX1" fmla="*/ 1370965 w 2025226"/>
              <a:gd name="connsiteY1" fmla="*/ 0 h 1129137"/>
              <a:gd name="connsiteX2" fmla="*/ 2025226 w 2025226"/>
              <a:gd name="connsiteY2" fmla="*/ 1122363 h 1129137"/>
              <a:gd name="connsiteX3" fmla="*/ 0 w 2025226"/>
              <a:gd name="connsiteY3" fmla="*/ 1129137 h 1129137"/>
              <a:gd name="connsiteX0" fmla="*/ 0 w 2025226"/>
              <a:gd name="connsiteY0" fmla="*/ 1141043 h 1141043"/>
              <a:gd name="connsiteX1" fmla="*/ 1361440 w 2025226"/>
              <a:gd name="connsiteY1" fmla="*/ 0 h 1141043"/>
              <a:gd name="connsiteX2" fmla="*/ 2025226 w 2025226"/>
              <a:gd name="connsiteY2" fmla="*/ 1134269 h 1141043"/>
              <a:gd name="connsiteX3" fmla="*/ 0 w 2025226"/>
              <a:gd name="connsiteY3" fmla="*/ 1141043 h 1141043"/>
              <a:gd name="connsiteX0" fmla="*/ 0 w 2025226"/>
              <a:gd name="connsiteY0" fmla="*/ 1141043 h 1141043"/>
              <a:gd name="connsiteX1" fmla="*/ 1361440 w 2025226"/>
              <a:gd name="connsiteY1" fmla="*/ 0 h 1141043"/>
              <a:gd name="connsiteX2" fmla="*/ 2025226 w 2025226"/>
              <a:gd name="connsiteY2" fmla="*/ 1124744 h 1141043"/>
              <a:gd name="connsiteX3" fmla="*/ 0 w 2025226"/>
              <a:gd name="connsiteY3" fmla="*/ 1141043 h 1141043"/>
              <a:gd name="connsiteX0" fmla="*/ 0 w 2025226"/>
              <a:gd name="connsiteY0" fmla="*/ 1126755 h 1126755"/>
              <a:gd name="connsiteX1" fmla="*/ 1361440 w 2025226"/>
              <a:gd name="connsiteY1" fmla="*/ 0 h 1126755"/>
              <a:gd name="connsiteX2" fmla="*/ 2025226 w 2025226"/>
              <a:gd name="connsiteY2" fmla="*/ 1124744 h 1126755"/>
              <a:gd name="connsiteX3" fmla="*/ 0 w 2025226"/>
              <a:gd name="connsiteY3" fmla="*/ 1126755 h 1126755"/>
            </a:gdLst>
            <a:ahLst/>
            <a:cxnLst>
              <a:cxn ang="0">
                <a:pos x="connsiteX0" y="connsiteY0"/>
              </a:cxn>
              <a:cxn ang="0">
                <a:pos x="connsiteX1" y="connsiteY1"/>
              </a:cxn>
              <a:cxn ang="0">
                <a:pos x="connsiteX2" y="connsiteY2"/>
              </a:cxn>
              <a:cxn ang="0">
                <a:pos x="connsiteX3" y="connsiteY3"/>
              </a:cxn>
            </a:cxnLst>
            <a:rect l="l" t="t" r="r" b="b"/>
            <a:pathLst>
              <a:path w="2025226" h="1126755">
                <a:moveTo>
                  <a:pt x="0" y="1126755"/>
                </a:moveTo>
                <a:lnTo>
                  <a:pt x="1361440" y="0"/>
                </a:lnTo>
                <a:lnTo>
                  <a:pt x="2025226" y="1124744"/>
                </a:lnTo>
                <a:lnTo>
                  <a:pt x="0" y="1126755"/>
                </a:lnTo>
                <a:close/>
              </a:path>
            </a:pathLst>
          </a:custGeom>
          <a:gradFill flip="none" rotWithShape="1">
            <a:gsLst>
              <a:gs pos="0">
                <a:schemeClr val="bg1"/>
              </a:gs>
              <a:gs pos="57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14" name="Freeform 13">
            <a:extLst>
              <a:ext uri="{FF2B5EF4-FFF2-40B4-BE49-F238E27FC236}">
                <a16:creationId xmlns:a16="http://schemas.microsoft.com/office/drawing/2014/main" id="{92800C22-FDE7-4BD9-83C8-60C7D87334A8}"/>
              </a:ext>
            </a:extLst>
          </p:cNvPr>
          <p:cNvSpPr>
            <a:spLocks/>
          </p:cNvSpPr>
          <p:nvPr userDrawn="1"/>
        </p:nvSpPr>
        <p:spPr bwMode="auto">
          <a:xfrm>
            <a:off x="10414000" y="6256217"/>
            <a:ext cx="1787525" cy="601787"/>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Lst>
            <a:ahLst/>
            <a:cxnLst>
              <a:cxn ang="0">
                <a:pos x="T0" y="T1"/>
              </a:cxn>
              <a:cxn ang="0">
                <a:pos x="T2" y="T3"/>
              </a:cxn>
              <a:cxn ang="0">
                <a:pos x="T4" y="T5"/>
              </a:cxn>
              <a:cxn ang="0">
                <a:pos x="T6" y="T7"/>
              </a:cxn>
              <a:cxn ang="0">
                <a:pos x="T8" y="T9"/>
              </a:cxn>
            </a:cxnLst>
            <a:rect l="0" t="0" r="r" b="b"/>
            <a:pathLst>
              <a:path w="3176" h="1121">
                <a:moveTo>
                  <a:pt x="0" y="1121"/>
                </a:moveTo>
                <a:lnTo>
                  <a:pt x="821" y="0"/>
                </a:lnTo>
                <a:lnTo>
                  <a:pt x="3176" y="0"/>
                </a:lnTo>
                <a:lnTo>
                  <a:pt x="3176" y="1121"/>
                </a:lnTo>
                <a:lnTo>
                  <a:pt x="0" y="1121"/>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6" name="Vrije vorm: vorm 15">
            <a:extLst>
              <a:ext uri="{FF2B5EF4-FFF2-40B4-BE49-F238E27FC236}">
                <a16:creationId xmlns:a16="http://schemas.microsoft.com/office/drawing/2014/main" id="{8F3F986C-8ACC-4FF2-A6B6-6C0495CA11A3}"/>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5454756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ivider light green">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900801E-7BDA-4FD6-A40F-A24E1D70A809}"/>
              </a:ext>
            </a:extLst>
          </p:cNvPr>
          <p:cNvGraphicFramePr>
            <a:graphicFrameLocks noChangeAspect="1"/>
          </p:cNvGraphicFramePr>
          <p:nvPr userDrawn="1">
            <p:custDataLst>
              <p:tags r:id="rId1"/>
            </p:custDataLst>
            <p:extLst>
              <p:ext uri="{D42A27DB-BD31-4B8C-83A1-F6EECF244321}">
                <p14:modId xmlns:p14="http://schemas.microsoft.com/office/powerpoint/2010/main" val="1215768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5900801E-7BDA-4FD6-A40F-A24E1D70A8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Freeform: Shape 14">
            <a:extLst>
              <a:ext uri="{FF2B5EF4-FFF2-40B4-BE49-F238E27FC236}">
                <a16:creationId xmlns:a16="http://schemas.microsoft.com/office/drawing/2014/main" id="{27A626B4-0165-454A-B0D3-B5EE4AF7CDDA}"/>
              </a:ext>
            </a:extLst>
          </p:cNvPr>
          <p:cNvSpPr/>
          <p:nvPr userDrawn="1"/>
        </p:nvSpPr>
        <p:spPr>
          <a:xfrm flipH="1">
            <a:off x="6096002" y="-9525"/>
            <a:ext cx="6095999" cy="6860638"/>
          </a:xfrm>
          <a:custGeom>
            <a:avLst/>
            <a:gdLst>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4572595 w 6095999"/>
              <a:gd name="connsiteY4" fmla="*/ 4630341 h 6860638"/>
              <a:gd name="connsiteX5" fmla="*/ 6095999 w 6095999"/>
              <a:gd name="connsiteY5" fmla="*/ 3827923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827923 h 6860638"/>
              <a:gd name="connsiteX5" fmla="*/ 6095999 w 6095999"/>
              <a:gd name="connsiteY5" fmla="*/ 0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980323 h 6860638"/>
              <a:gd name="connsiteX5" fmla="*/ 6095999 w 6095999"/>
              <a:gd name="connsiteY5" fmla="*/ 0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980323 h 6860638"/>
              <a:gd name="connsiteX5" fmla="*/ 6095999 w 6095999"/>
              <a:gd name="connsiteY5" fmla="*/ 0 h 6860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5999" h="6860638">
                <a:moveTo>
                  <a:pt x="6095999" y="0"/>
                </a:moveTo>
                <a:lnTo>
                  <a:pt x="0" y="0"/>
                </a:lnTo>
                <a:lnTo>
                  <a:pt x="0" y="6860638"/>
                </a:lnTo>
                <a:lnTo>
                  <a:pt x="758130" y="6522319"/>
                </a:lnTo>
                <a:cubicBezTo>
                  <a:pt x="1774130" y="6016867"/>
                  <a:pt x="5231754" y="4394276"/>
                  <a:pt x="6095999" y="3980323"/>
                </a:cubicBezTo>
                <a:lnTo>
                  <a:pt x="6095999" y="0"/>
                </a:lnTo>
                <a:close/>
              </a:path>
            </a:pathLst>
          </a:custGeom>
          <a:solidFill>
            <a:schemeClr val="tx2">
              <a:alpha val="9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noProof="0" dirty="0"/>
          </a:p>
        </p:txBody>
      </p:sp>
      <p:sp>
        <p:nvSpPr>
          <p:cNvPr id="17" name="Freeform: Shape 16">
            <a:extLst>
              <a:ext uri="{FF2B5EF4-FFF2-40B4-BE49-F238E27FC236}">
                <a16:creationId xmlns:a16="http://schemas.microsoft.com/office/drawing/2014/main" id="{D8994016-0D48-4540-9FCF-CB1ABDAD7C4F}"/>
              </a:ext>
            </a:extLst>
          </p:cNvPr>
          <p:cNvSpPr/>
          <p:nvPr userDrawn="1"/>
        </p:nvSpPr>
        <p:spPr>
          <a:xfrm>
            <a:off x="6096002" y="3944330"/>
            <a:ext cx="3240751" cy="2913670"/>
          </a:xfrm>
          <a:custGeom>
            <a:avLst/>
            <a:gdLst>
              <a:gd name="connsiteX0" fmla="*/ 0 w 3240751"/>
              <a:gd name="connsiteY0" fmla="*/ 0 h 2913670"/>
              <a:gd name="connsiteX1" fmla="*/ 3240751 w 3240751"/>
              <a:gd name="connsiteY1" fmla="*/ 1547588 h 2913670"/>
              <a:gd name="connsiteX2" fmla="*/ 1589920 w 3240751"/>
              <a:gd name="connsiteY2" fmla="*/ 2913670 h 2913670"/>
              <a:gd name="connsiteX3" fmla="*/ 0 w 3240751"/>
              <a:gd name="connsiteY3" fmla="*/ 2913670 h 2913670"/>
            </a:gdLst>
            <a:ahLst/>
            <a:cxnLst>
              <a:cxn ang="0">
                <a:pos x="connsiteX0" y="connsiteY0"/>
              </a:cxn>
              <a:cxn ang="0">
                <a:pos x="connsiteX1" y="connsiteY1"/>
              </a:cxn>
              <a:cxn ang="0">
                <a:pos x="connsiteX2" y="connsiteY2"/>
              </a:cxn>
              <a:cxn ang="0">
                <a:pos x="connsiteX3" y="connsiteY3"/>
              </a:cxn>
            </a:cxnLst>
            <a:rect l="l" t="t" r="r" b="b"/>
            <a:pathLst>
              <a:path w="3240751" h="2913670">
                <a:moveTo>
                  <a:pt x="0" y="0"/>
                </a:moveTo>
                <a:lnTo>
                  <a:pt x="3240751" y="1547588"/>
                </a:lnTo>
                <a:lnTo>
                  <a:pt x="1589920" y="2913670"/>
                </a:lnTo>
                <a:lnTo>
                  <a:pt x="0" y="2913670"/>
                </a:lnTo>
                <a:close/>
              </a:path>
            </a:pathLst>
          </a:custGeom>
          <a:gradFill flip="none" rotWithShape="1">
            <a:gsLst>
              <a:gs pos="0">
                <a:schemeClr val="bg1">
                  <a:alpha val="0"/>
                </a:schemeClr>
              </a:gs>
              <a:gs pos="96000">
                <a:schemeClr val="accent1"/>
              </a:gs>
            </a:gsLst>
            <a:lin ang="1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12991" y="3143393"/>
            <a:ext cx="2889887"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 name="connsiteX0" fmla="*/ 2889275 w 2889886"/>
              <a:gd name="connsiteY0" fmla="*/ 0 h 3714150"/>
              <a:gd name="connsiteX1" fmla="*/ 2889275 w 2889886"/>
              <a:gd name="connsiteY1" fmla="*/ 3714150 h 3714150"/>
              <a:gd name="connsiteX2" fmla="*/ 2644059 w 2889886"/>
              <a:gd name="connsiteY2" fmla="*/ 3632057 h 3714150"/>
              <a:gd name="connsiteX3" fmla="*/ 0 w 2889886"/>
              <a:gd name="connsiteY3" fmla="*/ 2368907 h 3714150"/>
              <a:gd name="connsiteX4" fmla="*/ 2889275 w 2889886"/>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9886" h="3714150">
                <a:moveTo>
                  <a:pt x="2889275" y="0"/>
                </a:moveTo>
                <a:cubicBezTo>
                  <a:pt x="2887158" y="1238050"/>
                  <a:pt x="2891392" y="2476100"/>
                  <a:pt x="2889275" y="3714150"/>
                </a:cubicBezTo>
                <a:lnTo>
                  <a:pt x="2644059" y="3632057"/>
                </a:lnTo>
                <a:lnTo>
                  <a:pt x="0" y="2368907"/>
                </a:lnTo>
                <a:lnTo>
                  <a:pt x="2889275" y="0"/>
                </a:lnTo>
                <a:close/>
              </a:path>
            </a:pathLst>
          </a:custGeom>
          <a:gradFill flip="none" rotWithShape="1">
            <a:gsLst>
              <a:gs pos="0">
                <a:schemeClr val="tx2"/>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accent1"/>
                </a:solidFill>
              </a:defRPr>
            </a:lvl1pPr>
            <a:lvl2pPr marL="342900" indent="0">
              <a:buNone/>
              <a:defRPr/>
            </a:lvl2pPr>
          </a:lstStyle>
          <a:p>
            <a:pPr lvl="0"/>
            <a:r>
              <a:rPr lang="nl-NL" noProof="0" dirty="0"/>
              <a:t>Titel</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tx1"/>
                </a:solidFill>
              </a:defRPr>
            </a:lvl1pPr>
          </a:lstStyle>
          <a:p>
            <a:pPr lvl="0"/>
            <a:r>
              <a:rPr lang="nl-NL" noProof="0" dirty="0"/>
              <a:t>Ruimte voor ondertiteling
</a:t>
            </a:r>
          </a:p>
        </p:txBody>
      </p:sp>
      <p:sp>
        <p:nvSpPr>
          <p:cNvPr id="4" name="Freeform: Shape 3">
            <a:extLst>
              <a:ext uri="{FF2B5EF4-FFF2-40B4-BE49-F238E27FC236}">
                <a16:creationId xmlns:a16="http://schemas.microsoft.com/office/drawing/2014/main" id="{DCEAE2EC-3757-4C25-A3B0-AEA880E2C55F}"/>
              </a:ext>
            </a:extLst>
          </p:cNvPr>
          <p:cNvSpPr/>
          <p:nvPr userDrawn="1"/>
        </p:nvSpPr>
        <p:spPr>
          <a:xfrm>
            <a:off x="7658101" y="5486400"/>
            <a:ext cx="3253581" cy="1373982"/>
          </a:xfrm>
          <a:custGeom>
            <a:avLst/>
            <a:gdLst>
              <a:gd name="connsiteX0" fmla="*/ 0 w 3251200"/>
              <a:gd name="connsiteY0" fmla="*/ 1371600 h 1371600"/>
              <a:gd name="connsiteX1" fmla="*/ 1676400 w 3251200"/>
              <a:gd name="connsiteY1" fmla="*/ 0 h 1371600"/>
              <a:gd name="connsiteX2" fmla="*/ 3251200 w 3251200"/>
              <a:gd name="connsiteY2" fmla="*/ 749300 h 1371600"/>
              <a:gd name="connsiteX3" fmla="*/ 2768600 w 3251200"/>
              <a:gd name="connsiteY3" fmla="*/ 1371600 h 1371600"/>
              <a:gd name="connsiteX4" fmla="*/ 0 w 3251200"/>
              <a:gd name="connsiteY4" fmla="*/ 1371600 h 1371600"/>
              <a:gd name="connsiteX0" fmla="*/ 0 w 3227388"/>
              <a:gd name="connsiteY0" fmla="*/ 1371600 h 1371600"/>
              <a:gd name="connsiteX1" fmla="*/ 1676400 w 3227388"/>
              <a:gd name="connsiteY1" fmla="*/ 0 h 1371600"/>
              <a:gd name="connsiteX2" fmla="*/ 3227388 w 3227388"/>
              <a:gd name="connsiteY2" fmla="*/ 765968 h 1371600"/>
              <a:gd name="connsiteX3" fmla="*/ 2768600 w 3227388"/>
              <a:gd name="connsiteY3" fmla="*/ 1371600 h 1371600"/>
              <a:gd name="connsiteX4" fmla="*/ 0 w 3227388"/>
              <a:gd name="connsiteY4" fmla="*/ 1371600 h 1371600"/>
              <a:gd name="connsiteX0" fmla="*/ 0 w 3220244"/>
              <a:gd name="connsiteY0" fmla="*/ 1371600 h 1371600"/>
              <a:gd name="connsiteX1" fmla="*/ 1676400 w 3220244"/>
              <a:gd name="connsiteY1" fmla="*/ 0 h 1371600"/>
              <a:gd name="connsiteX2" fmla="*/ 3220244 w 3220244"/>
              <a:gd name="connsiteY2" fmla="*/ 768350 h 1371600"/>
              <a:gd name="connsiteX3" fmla="*/ 2768600 w 3220244"/>
              <a:gd name="connsiteY3" fmla="*/ 1371600 h 1371600"/>
              <a:gd name="connsiteX4" fmla="*/ 0 w 3220244"/>
              <a:gd name="connsiteY4" fmla="*/ 1371600 h 1371600"/>
              <a:gd name="connsiteX0" fmla="*/ 0 w 3220244"/>
              <a:gd name="connsiteY0" fmla="*/ 1371600 h 1373982"/>
              <a:gd name="connsiteX1" fmla="*/ 1676400 w 3220244"/>
              <a:gd name="connsiteY1" fmla="*/ 0 h 1373982"/>
              <a:gd name="connsiteX2" fmla="*/ 3220244 w 3220244"/>
              <a:gd name="connsiteY2" fmla="*/ 768350 h 1373982"/>
              <a:gd name="connsiteX3" fmla="*/ 2866231 w 3220244"/>
              <a:gd name="connsiteY3" fmla="*/ 1373982 h 1373982"/>
              <a:gd name="connsiteX4" fmla="*/ 0 w 3220244"/>
              <a:gd name="connsiteY4" fmla="*/ 1371600 h 1373982"/>
              <a:gd name="connsiteX0" fmla="*/ 0 w 3248819"/>
              <a:gd name="connsiteY0" fmla="*/ 1371600 h 1373982"/>
              <a:gd name="connsiteX1" fmla="*/ 1676400 w 3248819"/>
              <a:gd name="connsiteY1" fmla="*/ 0 h 1373982"/>
              <a:gd name="connsiteX2" fmla="*/ 3248819 w 3248819"/>
              <a:gd name="connsiteY2" fmla="*/ 773112 h 1373982"/>
              <a:gd name="connsiteX3" fmla="*/ 2866231 w 3248819"/>
              <a:gd name="connsiteY3" fmla="*/ 1373982 h 1373982"/>
              <a:gd name="connsiteX4" fmla="*/ 0 w 3248819"/>
              <a:gd name="connsiteY4" fmla="*/ 1371600 h 1373982"/>
              <a:gd name="connsiteX0" fmla="*/ 0 w 3253581"/>
              <a:gd name="connsiteY0" fmla="*/ 1371600 h 1373982"/>
              <a:gd name="connsiteX1" fmla="*/ 1676400 w 3253581"/>
              <a:gd name="connsiteY1" fmla="*/ 0 h 1373982"/>
              <a:gd name="connsiteX2" fmla="*/ 3253581 w 3253581"/>
              <a:gd name="connsiteY2" fmla="*/ 763587 h 1373982"/>
              <a:gd name="connsiteX3" fmla="*/ 2866231 w 3253581"/>
              <a:gd name="connsiteY3" fmla="*/ 1373982 h 1373982"/>
              <a:gd name="connsiteX4" fmla="*/ 0 w 3253581"/>
              <a:gd name="connsiteY4" fmla="*/ 1371600 h 1373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3581" h="1373982">
                <a:moveTo>
                  <a:pt x="0" y="1371600"/>
                </a:moveTo>
                <a:lnTo>
                  <a:pt x="1676400" y="0"/>
                </a:lnTo>
                <a:lnTo>
                  <a:pt x="3253581" y="763587"/>
                </a:lnTo>
                <a:lnTo>
                  <a:pt x="2866231" y="1373982"/>
                </a:lnTo>
                <a:lnTo>
                  <a:pt x="0" y="137160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0" name="Freeform 13">
            <a:extLst>
              <a:ext uri="{FF2B5EF4-FFF2-40B4-BE49-F238E27FC236}">
                <a16:creationId xmlns:a16="http://schemas.microsoft.com/office/drawing/2014/main" id="{AF6C7826-3FE0-476B-9A78-98D41FA73CA7}"/>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2" name="Vrije vorm: vorm 11">
            <a:extLst>
              <a:ext uri="{FF2B5EF4-FFF2-40B4-BE49-F238E27FC236}">
                <a16:creationId xmlns:a16="http://schemas.microsoft.com/office/drawing/2014/main" id="{DC05B256-F3A6-40AB-831B-33713D2F3A4B}"/>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1383669232"/>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der dark green">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EB98D4-EE4F-4521-B4F2-2A520BFC26BD}"/>
              </a:ext>
            </a:extLst>
          </p:cNvPr>
          <p:cNvGraphicFramePr>
            <a:graphicFrameLocks noChangeAspect="1"/>
          </p:cNvGraphicFramePr>
          <p:nvPr userDrawn="1">
            <p:custDataLst>
              <p:tags r:id="rId1"/>
            </p:custDataLst>
            <p:extLst>
              <p:ext uri="{D42A27DB-BD31-4B8C-83A1-F6EECF244321}">
                <p14:modId xmlns:p14="http://schemas.microsoft.com/office/powerpoint/2010/main" val="2761277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4EEB98D4-EE4F-4521-B4F2-2A520BFC26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Freeform: Shape 14">
            <a:extLst>
              <a:ext uri="{FF2B5EF4-FFF2-40B4-BE49-F238E27FC236}">
                <a16:creationId xmlns:a16="http://schemas.microsoft.com/office/drawing/2014/main" id="{27A626B4-0165-454A-B0D3-B5EE4AF7CDDA}"/>
              </a:ext>
            </a:extLst>
          </p:cNvPr>
          <p:cNvSpPr/>
          <p:nvPr userDrawn="1"/>
        </p:nvSpPr>
        <p:spPr>
          <a:xfrm flipH="1">
            <a:off x="6096002" y="-9525"/>
            <a:ext cx="6095999" cy="6860638"/>
          </a:xfrm>
          <a:custGeom>
            <a:avLst/>
            <a:gdLst>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4572595 w 6095999"/>
              <a:gd name="connsiteY4" fmla="*/ 4630341 h 6860638"/>
              <a:gd name="connsiteX5" fmla="*/ 6095999 w 6095999"/>
              <a:gd name="connsiteY5" fmla="*/ 3827923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827923 h 6860638"/>
              <a:gd name="connsiteX5" fmla="*/ 6095999 w 6095999"/>
              <a:gd name="connsiteY5" fmla="*/ 0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980323 h 6860638"/>
              <a:gd name="connsiteX5" fmla="*/ 6095999 w 6095999"/>
              <a:gd name="connsiteY5" fmla="*/ 0 h 6860638"/>
              <a:gd name="connsiteX0" fmla="*/ 6095999 w 6095999"/>
              <a:gd name="connsiteY0" fmla="*/ 0 h 6860638"/>
              <a:gd name="connsiteX1" fmla="*/ 0 w 6095999"/>
              <a:gd name="connsiteY1" fmla="*/ 0 h 6860638"/>
              <a:gd name="connsiteX2" fmla="*/ 0 w 6095999"/>
              <a:gd name="connsiteY2" fmla="*/ 6860638 h 6860638"/>
              <a:gd name="connsiteX3" fmla="*/ 758130 w 6095999"/>
              <a:gd name="connsiteY3" fmla="*/ 6522319 h 6860638"/>
              <a:gd name="connsiteX4" fmla="*/ 6095999 w 6095999"/>
              <a:gd name="connsiteY4" fmla="*/ 3980323 h 6860638"/>
              <a:gd name="connsiteX5" fmla="*/ 6095999 w 6095999"/>
              <a:gd name="connsiteY5" fmla="*/ 0 h 6860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5999" h="6860638">
                <a:moveTo>
                  <a:pt x="6095999" y="0"/>
                </a:moveTo>
                <a:lnTo>
                  <a:pt x="0" y="0"/>
                </a:lnTo>
                <a:lnTo>
                  <a:pt x="0" y="6860638"/>
                </a:lnTo>
                <a:lnTo>
                  <a:pt x="758130" y="6522319"/>
                </a:lnTo>
                <a:cubicBezTo>
                  <a:pt x="1774130" y="6016867"/>
                  <a:pt x="5231754" y="4394276"/>
                  <a:pt x="6095999" y="3980323"/>
                </a:cubicBezTo>
                <a:lnTo>
                  <a:pt x="6095999" y="0"/>
                </a:lnTo>
                <a:close/>
              </a:path>
            </a:pathLst>
          </a:custGeom>
          <a:solidFill>
            <a:schemeClr val="accent3">
              <a:alpha val="9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noProof="0" dirty="0"/>
          </a:p>
        </p:txBody>
      </p:sp>
      <p:sp>
        <p:nvSpPr>
          <p:cNvPr id="17" name="Freeform: Shape 16">
            <a:extLst>
              <a:ext uri="{FF2B5EF4-FFF2-40B4-BE49-F238E27FC236}">
                <a16:creationId xmlns:a16="http://schemas.microsoft.com/office/drawing/2014/main" id="{D8994016-0D48-4540-9FCF-CB1ABDAD7C4F}"/>
              </a:ext>
            </a:extLst>
          </p:cNvPr>
          <p:cNvSpPr/>
          <p:nvPr userDrawn="1"/>
        </p:nvSpPr>
        <p:spPr>
          <a:xfrm>
            <a:off x="6096002" y="3944330"/>
            <a:ext cx="3240751" cy="2913670"/>
          </a:xfrm>
          <a:custGeom>
            <a:avLst/>
            <a:gdLst>
              <a:gd name="connsiteX0" fmla="*/ 0 w 3240751"/>
              <a:gd name="connsiteY0" fmla="*/ 0 h 2913670"/>
              <a:gd name="connsiteX1" fmla="*/ 3240751 w 3240751"/>
              <a:gd name="connsiteY1" fmla="*/ 1547588 h 2913670"/>
              <a:gd name="connsiteX2" fmla="*/ 1589920 w 3240751"/>
              <a:gd name="connsiteY2" fmla="*/ 2913670 h 2913670"/>
              <a:gd name="connsiteX3" fmla="*/ 0 w 3240751"/>
              <a:gd name="connsiteY3" fmla="*/ 2913670 h 2913670"/>
            </a:gdLst>
            <a:ahLst/>
            <a:cxnLst>
              <a:cxn ang="0">
                <a:pos x="connsiteX0" y="connsiteY0"/>
              </a:cxn>
              <a:cxn ang="0">
                <a:pos x="connsiteX1" y="connsiteY1"/>
              </a:cxn>
              <a:cxn ang="0">
                <a:pos x="connsiteX2" y="connsiteY2"/>
              </a:cxn>
              <a:cxn ang="0">
                <a:pos x="connsiteX3" y="connsiteY3"/>
              </a:cxn>
            </a:cxnLst>
            <a:rect l="l" t="t" r="r" b="b"/>
            <a:pathLst>
              <a:path w="3240751" h="2913670">
                <a:moveTo>
                  <a:pt x="0" y="0"/>
                </a:moveTo>
                <a:lnTo>
                  <a:pt x="3240751" y="1547588"/>
                </a:lnTo>
                <a:lnTo>
                  <a:pt x="1589920" y="2913670"/>
                </a:lnTo>
                <a:lnTo>
                  <a:pt x="0" y="2913670"/>
                </a:lnTo>
                <a:close/>
              </a:path>
            </a:pathLst>
          </a:custGeom>
          <a:gradFill flip="none" rotWithShape="1">
            <a:gsLst>
              <a:gs pos="0">
                <a:schemeClr val="accent3"/>
              </a:gs>
              <a:gs pos="96000">
                <a:schemeClr val="accent1"/>
              </a:gs>
            </a:gsLst>
            <a:lin ang="1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32835" y="3156093"/>
            <a:ext cx="2863693"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 name="connsiteX0" fmla="*/ 2889275 w 2889886"/>
              <a:gd name="connsiteY0" fmla="*/ 0 h 3714150"/>
              <a:gd name="connsiteX1" fmla="*/ 2889275 w 2889886"/>
              <a:gd name="connsiteY1" fmla="*/ 3714150 h 3714150"/>
              <a:gd name="connsiteX2" fmla="*/ 2644059 w 2889886"/>
              <a:gd name="connsiteY2" fmla="*/ 3632057 h 3714150"/>
              <a:gd name="connsiteX3" fmla="*/ 0 w 2889886"/>
              <a:gd name="connsiteY3" fmla="*/ 2368907 h 3714150"/>
              <a:gd name="connsiteX4" fmla="*/ 2889275 w 2889886"/>
              <a:gd name="connsiteY4" fmla="*/ 0 h 3714150"/>
              <a:gd name="connsiteX0" fmla="*/ 2863081 w 2863692"/>
              <a:gd name="connsiteY0" fmla="*/ 0 h 3714150"/>
              <a:gd name="connsiteX1" fmla="*/ 2863081 w 2863692"/>
              <a:gd name="connsiteY1" fmla="*/ 3714150 h 3714150"/>
              <a:gd name="connsiteX2" fmla="*/ 2617865 w 2863692"/>
              <a:gd name="connsiteY2" fmla="*/ 3632057 h 3714150"/>
              <a:gd name="connsiteX3" fmla="*/ 0 w 2863692"/>
              <a:gd name="connsiteY3" fmla="*/ 2349857 h 3714150"/>
              <a:gd name="connsiteX4" fmla="*/ 2863081 w 2863692"/>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3692" h="3714150">
                <a:moveTo>
                  <a:pt x="2863081" y="0"/>
                </a:moveTo>
                <a:cubicBezTo>
                  <a:pt x="2860964" y="1238050"/>
                  <a:pt x="2865198" y="2476100"/>
                  <a:pt x="2863081" y="3714150"/>
                </a:cubicBezTo>
                <a:lnTo>
                  <a:pt x="2617865" y="3632057"/>
                </a:lnTo>
                <a:lnTo>
                  <a:pt x="0" y="2349857"/>
                </a:lnTo>
                <a:lnTo>
                  <a:pt x="2863081" y="0"/>
                </a:lnTo>
                <a:close/>
              </a:path>
            </a:pathLst>
          </a:custGeom>
          <a:gradFill flip="none" rotWithShape="1">
            <a:gsLst>
              <a:gs pos="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GB" sz="1350" noProof="0" dirty="0">
              <a:solidFill>
                <a:srgbClr val="248D37"/>
              </a:solidFill>
            </a:endParaRPr>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bg1"/>
                </a:solidFill>
              </a:defRPr>
            </a:lvl1pPr>
            <a:lvl2pPr marL="342900" indent="0">
              <a:buNone/>
              <a:defRPr/>
            </a:lvl2pPr>
          </a:lstStyle>
          <a:p>
            <a:pPr lvl="0"/>
            <a:r>
              <a:rPr lang="nl-NL" noProof="0" dirty="0"/>
              <a:t>Titel</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bg1"/>
                </a:solidFill>
              </a:defRPr>
            </a:lvl1pPr>
          </a:lstStyle>
          <a:p>
            <a:pPr lvl="0"/>
            <a:r>
              <a:rPr lang="nl-NL" noProof="0" dirty="0"/>
              <a:t>Ruimte voor ondertiteling
</a:t>
            </a:r>
          </a:p>
        </p:txBody>
      </p:sp>
      <p:sp>
        <p:nvSpPr>
          <p:cNvPr id="4" name="Freeform: Shape 3">
            <a:extLst>
              <a:ext uri="{FF2B5EF4-FFF2-40B4-BE49-F238E27FC236}">
                <a16:creationId xmlns:a16="http://schemas.microsoft.com/office/drawing/2014/main" id="{DCEAE2EC-3757-4C25-A3B0-AEA880E2C55F}"/>
              </a:ext>
            </a:extLst>
          </p:cNvPr>
          <p:cNvSpPr/>
          <p:nvPr userDrawn="1"/>
        </p:nvSpPr>
        <p:spPr>
          <a:xfrm>
            <a:off x="7658101" y="5486400"/>
            <a:ext cx="3250405" cy="1371600"/>
          </a:xfrm>
          <a:custGeom>
            <a:avLst/>
            <a:gdLst>
              <a:gd name="connsiteX0" fmla="*/ 0 w 3251200"/>
              <a:gd name="connsiteY0" fmla="*/ 1371600 h 1371600"/>
              <a:gd name="connsiteX1" fmla="*/ 1676400 w 3251200"/>
              <a:gd name="connsiteY1" fmla="*/ 0 h 1371600"/>
              <a:gd name="connsiteX2" fmla="*/ 3251200 w 3251200"/>
              <a:gd name="connsiteY2" fmla="*/ 749300 h 1371600"/>
              <a:gd name="connsiteX3" fmla="*/ 2768600 w 3251200"/>
              <a:gd name="connsiteY3" fmla="*/ 1371600 h 1371600"/>
              <a:gd name="connsiteX4" fmla="*/ 0 w 3251200"/>
              <a:gd name="connsiteY4" fmla="*/ 1371600 h 1371600"/>
              <a:gd name="connsiteX0" fmla="*/ 0 w 3227388"/>
              <a:gd name="connsiteY0" fmla="*/ 1371600 h 1371600"/>
              <a:gd name="connsiteX1" fmla="*/ 1676400 w 3227388"/>
              <a:gd name="connsiteY1" fmla="*/ 0 h 1371600"/>
              <a:gd name="connsiteX2" fmla="*/ 3227388 w 3227388"/>
              <a:gd name="connsiteY2" fmla="*/ 765968 h 1371600"/>
              <a:gd name="connsiteX3" fmla="*/ 2768600 w 3227388"/>
              <a:gd name="connsiteY3" fmla="*/ 1371600 h 1371600"/>
              <a:gd name="connsiteX4" fmla="*/ 0 w 3227388"/>
              <a:gd name="connsiteY4" fmla="*/ 1371600 h 1371600"/>
              <a:gd name="connsiteX0" fmla="*/ 0 w 3220244"/>
              <a:gd name="connsiteY0" fmla="*/ 1371600 h 1371600"/>
              <a:gd name="connsiteX1" fmla="*/ 1676400 w 3220244"/>
              <a:gd name="connsiteY1" fmla="*/ 0 h 1371600"/>
              <a:gd name="connsiteX2" fmla="*/ 3220244 w 3220244"/>
              <a:gd name="connsiteY2" fmla="*/ 768350 h 1371600"/>
              <a:gd name="connsiteX3" fmla="*/ 2768600 w 3220244"/>
              <a:gd name="connsiteY3" fmla="*/ 1371600 h 1371600"/>
              <a:gd name="connsiteX4" fmla="*/ 0 w 3220244"/>
              <a:gd name="connsiteY4" fmla="*/ 1371600 h 1371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0244" h="1371600">
                <a:moveTo>
                  <a:pt x="0" y="1371600"/>
                </a:moveTo>
                <a:lnTo>
                  <a:pt x="1676400" y="0"/>
                </a:lnTo>
                <a:lnTo>
                  <a:pt x="3220244" y="768350"/>
                </a:lnTo>
                <a:lnTo>
                  <a:pt x="2768600" y="1371600"/>
                </a:lnTo>
                <a:lnTo>
                  <a:pt x="0" y="137160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2" name="Freeform 13">
            <a:extLst>
              <a:ext uri="{FF2B5EF4-FFF2-40B4-BE49-F238E27FC236}">
                <a16:creationId xmlns:a16="http://schemas.microsoft.com/office/drawing/2014/main" id="{2E2457F3-F06C-4505-820D-D40E7AC86B50}"/>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11" name="Vrije vorm: vorm 10">
            <a:extLst>
              <a:ext uri="{FF2B5EF4-FFF2-40B4-BE49-F238E27FC236}">
                <a16:creationId xmlns:a16="http://schemas.microsoft.com/office/drawing/2014/main" id="{E6DB3C11-215D-4599-B476-A8D38DCF32A9}"/>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242650713"/>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hotos and text">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027A34-DA61-4FA9-90FE-804A906DC605}"/>
              </a:ext>
            </a:extLst>
          </p:cNvPr>
          <p:cNvGraphicFramePr>
            <a:graphicFrameLocks noChangeAspect="1"/>
          </p:cNvGraphicFramePr>
          <p:nvPr userDrawn="1">
            <p:custDataLst>
              <p:tags r:id="rId1"/>
            </p:custDataLst>
            <p:extLst>
              <p:ext uri="{D42A27DB-BD31-4B8C-83A1-F6EECF244321}">
                <p14:modId xmlns:p14="http://schemas.microsoft.com/office/powerpoint/2010/main" val="3838144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34027A34-DA61-4FA9-90FE-804A906DC6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3">
            <a:extLst>
              <a:ext uri="{FF2B5EF4-FFF2-40B4-BE49-F238E27FC236}">
                <a16:creationId xmlns:a16="http://schemas.microsoft.com/office/drawing/2014/main" id="{9ADA00E2-F4E0-41A0-9149-078B6BB91D85}"/>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US" sz="900" b="0" noProof="0" smtClean="0">
                <a:solidFill>
                  <a:schemeClr val="bg1"/>
                </a:solidFill>
                <a:cs typeface="Arial" pitchFamily="34" charset="0"/>
              </a:rPr>
              <a:pPr algn="ctr" fontAlgn="auto">
                <a:spcBef>
                  <a:spcPts val="0"/>
                </a:spcBef>
                <a:spcAft>
                  <a:spcPts val="0"/>
                </a:spcAft>
                <a:defRPr/>
              </a:pPr>
              <a:t>‹nr.›</a:t>
            </a:fld>
            <a:endParaRPr lang="en-US"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4276919"/>
            <a:ext cx="9614285" cy="601788"/>
          </a:xfrm>
          <a:prstGeom prst="rect">
            <a:avLst/>
          </a:prstGeom>
        </p:spPr>
        <p:txBody>
          <a:bodyPr vert="horz" lIns="0"/>
          <a:lstStyle>
            <a:lvl1pPr rtl="0">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4879182"/>
            <a:ext cx="9599885" cy="1358107"/>
          </a:xfrm>
          <a:prstGeom prst="rect">
            <a:avLst/>
          </a:prstGeom>
        </p:spPr>
        <p:txBody>
          <a:bodyPr lIns="0"/>
          <a:lstStyle>
            <a:lvl1pPr marL="171450" indent="-171450" rtl="0">
              <a:spcAft>
                <a:spcPts val="0"/>
              </a:spcAft>
              <a:buClr>
                <a:schemeClr val="accent2"/>
              </a:buClr>
              <a:buFont typeface="Arial" panose="020B0604020202020204" pitchFamily="34" charset="0"/>
              <a:buChar char="•"/>
              <a:defRPr sz="1600" b="0">
                <a:solidFill>
                  <a:schemeClr val="tx1"/>
                </a:solidFill>
              </a:defRPr>
            </a:lvl1pPr>
            <a:lvl2pPr marL="449263" indent="-171450" rtl="0">
              <a:spcAft>
                <a:spcPts val="0"/>
              </a:spcAft>
              <a:buClr>
                <a:schemeClr val="accent5"/>
              </a:buClr>
              <a:buFont typeface="Arial" panose="020B0604020202020204" pitchFamily="34" charset="0"/>
              <a:buChar char="̶"/>
              <a:defRPr sz="1400" b="0">
                <a:solidFill>
                  <a:schemeClr val="tx1"/>
                </a:solidFill>
              </a:defRPr>
            </a:lvl2pPr>
            <a:lvl3pPr marL="630238" indent="-171450" rtl="0">
              <a:spcAft>
                <a:spcPts val="0"/>
              </a:spcAft>
              <a:buClr>
                <a:schemeClr val="accent1"/>
              </a:buClr>
              <a:buFont typeface="Arial" panose="020B0604020202020204" pitchFamily="34" charset="0"/>
              <a:buChar char="•"/>
              <a:defRPr sz="1200" b="0">
                <a:solidFill>
                  <a:schemeClr val="tx1"/>
                </a:solidFill>
              </a:defRPr>
            </a:lvl3pPr>
            <a:lvl4pPr marL="896938" indent="-171450" rtl="0">
              <a:spcAft>
                <a:spcPts val="0"/>
              </a:spcAft>
              <a:buClr>
                <a:schemeClr val="accent5"/>
              </a:buClr>
              <a:buFont typeface="Arial" panose="020B0604020202020204" pitchFamily="34" charset="0"/>
              <a:buChar char="̶"/>
              <a:defRPr sz="1200" b="0">
                <a:solidFill>
                  <a:schemeClr val="tx1"/>
                </a:solidFill>
              </a:defRPr>
            </a:lvl4pPr>
            <a:lvl5pPr marL="1077913" indent="-171450" rtl="0">
              <a:spcAft>
                <a:spcPts val="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8" name="Picture Placeholder 14">
            <a:extLst>
              <a:ext uri="{FF2B5EF4-FFF2-40B4-BE49-F238E27FC236}">
                <a16:creationId xmlns:a16="http://schemas.microsoft.com/office/drawing/2014/main" id="{F73B8B97-602A-4818-9083-EB0121433B6A}"/>
              </a:ext>
            </a:extLst>
          </p:cNvPr>
          <p:cNvSpPr>
            <a:spLocks noGrp="1"/>
          </p:cNvSpPr>
          <p:nvPr>
            <p:ph type="pic" sz="quarter" idx="11" hasCustomPrompt="1"/>
          </p:nvPr>
        </p:nvSpPr>
        <p:spPr>
          <a:xfrm>
            <a:off x="1055688" y="1233489"/>
            <a:ext cx="6622241" cy="2665412"/>
          </a:xfrm>
          <a:prstGeom prst="rect">
            <a:avLst/>
          </a:prstGeom>
          <a:pattFill prst="ltUpDiag">
            <a:fgClr>
              <a:schemeClr val="accent5"/>
            </a:fgClr>
            <a:bgClr>
              <a:schemeClr val="bg1"/>
            </a:bgClr>
          </a:pattFill>
        </p:spPr>
        <p:txBody>
          <a:bodyPr/>
          <a:lstStyle>
            <a:lvl1pPr marL="0" indent="0" rtl="0">
              <a:buNone/>
              <a:defRPr lang="nl-NL" sz="1350" b="0" dirty="0">
                <a:solidFill>
                  <a:schemeClr val="tx1"/>
                </a:solidFill>
              </a:defRPr>
            </a:lvl1pPr>
          </a:lstStyle>
          <a:p>
            <a:pPr marL="171450" lvl="0" indent="-171450" algn="ctr"/>
            <a:r>
              <a:rPr lang="nl-NL" noProof="0"/>
              <a:t>Klik op het pictogram om een afbeelding in te voegen
</a:t>
            </a:r>
          </a:p>
        </p:txBody>
      </p:sp>
      <p:sp>
        <p:nvSpPr>
          <p:cNvPr id="10" name="Picture Placeholder 14">
            <a:extLst>
              <a:ext uri="{FF2B5EF4-FFF2-40B4-BE49-F238E27FC236}">
                <a16:creationId xmlns:a16="http://schemas.microsoft.com/office/drawing/2014/main" id="{32C2A2DE-AF17-4760-ACAB-855EBE19BCA9}"/>
              </a:ext>
            </a:extLst>
          </p:cNvPr>
          <p:cNvSpPr>
            <a:spLocks noGrp="1"/>
          </p:cNvSpPr>
          <p:nvPr>
            <p:ph type="pic" sz="quarter" idx="12" hasCustomPrompt="1"/>
          </p:nvPr>
        </p:nvSpPr>
        <p:spPr>
          <a:xfrm>
            <a:off x="7678210" y="1233489"/>
            <a:ext cx="2847975" cy="2665412"/>
          </a:xfrm>
          <a:prstGeom prst="rect">
            <a:avLst/>
          </a:prstGeom>
          <a:pattFill prst="ltUpDiag">
            <a:fgClr>
              <a:schemeClr val="accent5"/>
            </a:fgClr>
            <a:bgClr>
              <a:schemeClr val="bg1"/>
            </a:bgClr>
          </a:pattFill>
        </p:spPr>
        <p:txBody>
          <a:bodyPr/>
          <a:lstStyle>
            <a:lvl1pPr marL="0" indent="0" rtl="0">
              <a:buNone/>
              <a:defRPr lang="nl-NL" sz="1350" b="0" dirty="0">
                <a:solidFill>
                  <a:schemeClr val="tx1"/>
                </a:solidFill>
              </a:defRPr>
            </a:lvl1pPr>
          </a:lstStyle>
          <a:p>
            <a:pPr marL="171450" lvl="0" indent="-171450" algn="ctr"/>
            <a:r>
              <a:rPr lang="nl-NL" noProof="0" dirty="0"/>
              <a:t>Klik op het pictogram om een afbeelding in te voegen
</a:t>
            </a:r>
          </a:p>
        </p:txBody>
      </p:sp>
    </p:spTree>
    <p:extLst>
      <p:ext uri="{BB962C8B-B14F-4D97-AF65-F5344CB8AC3E}">
        <p14:creationId xmlns:p14="http://schemas.microsoft.com/office/powerpoint/2010/main" val="2353098715"/>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786FBD-871F-4F5C-85B6-99A712FE9D6F}"/>
              </a:ext>
            </a:extLst>
          </p:cNvPr>
          <p:cNvGraphicFramePr>
            <a:graphicFrameLocks noChangeAspect="1"/>
          </p:cNvGraphicFramePr>
          <p:nvPr userDrawn="1">
            <p:custDataLst>
              <p:tags r:id="rId1"/>
            </p:custDataLst>
            <p:extLst>
              <p:ext uri="{D42A27DB-BD31-4B8C-83A1-F6EECF244321}">
                <p14:modId xmlns:p14="http://schemas.microsoft.com/office/powerpoint/2010/main" val="1498296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60786FBD-871F-4F5C-85B6-99A712FE9D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6" name="Vrije vorm: vorm 5">
            <a:extLst>
              <a:ext uri="{FF2B5EF4-FFF2-40B4-BE49-F238E27FC236}">
                <a16:creationId xmlns:a16="http://schemas.microsoft.com/office/drawing/2014/main" id="{570C1F31-9978-4DB5-90A5-BA3EE99F1E72}"/>
              </a:ext>
            </a:extLst>
          </p:cNvPr>
          <p:cNvSpPr/>
          <p:nvPr userDrawn="1"/>
        </p:nvSpPr>
        <p:spPr>
          <a:xfrm>
            <a:off x="2524898" y="2329096"/>
            <a:ext cx="6494504" cy="1852380"/>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246695715"/>
      </p:ext>
    </p:extLst>
  </p:cSld>
  <p:clrMapOvr>
    <a:masterClrMapping/>
  </p:clrMapOvr>
  <p:extLst>
    <p:ext uri="{DCECCB84-F9BA-43D5-87BE-67443E8EF086}">
      <p15:sldGuideLst xmlns:p15="http://schemas.microsoft.com/office/powerpoint/2012/main">
        <p15:guide id="1" pos="665">
          <p15:clr>
            <a:srgbClr val="FBAE40"/>
          </p15:clr>
        </p15:guide>
        <p15:guide id="2" orient="horz" pos="777">
          <p15:clr>
            <a:srgbClr val="FBAE40"/>
          </p15:clr>
        </p15:guide>
        <p15:guide id="3" pos="6630">
          <p15:clr>
            <a:srgbClr val="FBAE40"/>
          </p15:clr>
        </p15:guide>
        <p15:guide id="4" orient="horz" pos="3929">
          <p15:clr>
            <a:srgbClr val="FBAE40"/>
          </p15:clr>
        </p15:guide>
        <p15:guide id="5" orient="horz" pos="473">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ussenpagina donker">
    <p:bg>
      <p:bgPr>
        <a:solidFill>
          <a:schemeClr val="bg2"/>
        </a:solidFill>
        <a:effectLst/>
      </p:bgPr>
    </p:bg>
    <p:spTree>
      <p:nvGrpSpPr>
        <p:cNvPr id="1" name=""/>
        <p:cNvGrpSpPr/>
        <p:nvPr/>
      </p:nvGrpSpPr>
      <p:grpSpPr>
        <a:xfrm>
          <a:off x="0" y="0"/>
          <a:ext cx="0" cy="0"/>
          <a:chOff x="0" y="0"/>
          <a:chExt cx="0" cy="0"/>
        </a:xfrm>
      </p:grpSpPr>
      <p:sp>
        <p:nvSpPr>
          <p:cNvPr id="13" name="Freeform: Shape 12">
            <a:extLst>
              <a:ext uri="{FF2B5EF4-FFF2-40B4-BE49-F238E27FC236}">
                <a16:creationId xmlns:a16="http://schemas.microsoft.com/office/drawing/2014/main" id="{A0695271-F570-409F-857A-DDA155205D71}"/>
              </a:ext>
            </a:extLst>
          </p:cNvPr>
          <p:cNvSpPr/>
          <p:nvPr userDrawn="1"/>
        </p:nvSpPr>
        <p:spPr>
          <a:xfrm>
            <a:off x="-9525" y="1028701"/>
            <a:ext cx="12201525" cy="5836557"/>
          </a:xfrm>
          <a:custGeom>
            <a:avLst/>
            <a:gdLst>
              <a:gd name="connsiteX0" fmla="*/ 0 w 12211050"/>
              <a:gd name="connsiteY0" fmla="*/ 0 h 5286375"/>
              <a:gd name="connsiteX1" fmla="*/ 12211050 w 12211050"/>
              <a:gd name="connsiteY1" fmla="*/ 5286375 h 5286375"/>
              <a:gd name="connsiteX2" fmla="*/ 0 w 12211050"/>
              <a:gd name="connsiteY2" fmla="*/ 5286375 h 5286375"/>
              <a:gd name="connsiteX3" fmla="*/ 0 w 12211050"/>
              <a:gd name="connsiteY3" fmla="*/ 0 h 5286375"/>
              <a:gd name="connsiteX0" fmla="*/ 0 w 12203906"/>
              <a:gd name="connsiteY0" fmla="*/ 0 h 5286375"/>
              <a:gd name="connsiteX1" fmla="*/ 12203906 w 12203906"/>
              <a:gd name="connsiteY1" fmla="*/ 5275227 h 5286375"/>
              <a:gd name="connsiteX2" fmla="*/ 0 w 12203906"/>
              <a:gd name="connsiteY2" fmla="*/ 5286375 h 5286375"/>
              <a:gd name="connsiteX3" fmla="*/ 0 w 12203906"/>
              <a:gd name="connsiteY3" fmla="*/ 0 h 5286375"/>
              <a:gd name="connsiteX0" fmla="*/ 0 w 12203906"/>
              <a:gd name="connsiteY0" fmla="*/ 0 h 5286375"/>
              <a:gd name="connsiteX1" fmla="*/ 12203906 w 12203906"/>
              <a:gd name="connsiteY1" fmla="*/ 5270768 h 5286375"/>
              <a:gd name="connsiteX2" fmla="*/ 0 w 12203906"/>
              <a:gd name="connsiteY2" fmla="*/ 5286375 h 5286375"/>
              <a:gd name="connsiteX3" fmla="*/ 0 w 12203906"/>
              <a:gd name="connsiteY3" fmla="*/ 0 h 5286375"/>
              <a:gd name="connsiteX0" fmla="*/ 0 w 12201525"/>
              <a:gd name="connsiteY0" fmla="*/ 0 h 5286375"/>
              <a:gd name="connsiteX1" fmla="*/ 12201525 w 12201525"/>
              <a:gd name="connsiteY1" fmla="*/ 5277457 h 5286375"/>
              <a:gd name="connsiteX2" fmla="*/ 0 w 12201525"/>
              <a:gd name="connsiteY2" fmla="*/ 5286375 h 5286375"/>
              <a:gd name="connsiteX3" fmla="*/ 0 w 12201525"/>
              <a:gd name="connsiteY3" fmla="*/ 0 h 5286375"/>
            </a:gdLst>
            <a:ahLst/>
            <a:cxnLst>
              <a:cxn ang="0">
                <a:pos x="connsiteX0" y="connsiteY0"/>
              </a:cxn>
              <a:cxn ang="0">
                <a:pos x="connsiteX1" y="connsiteY1"/>
              </a:cxn>
              <a:cxn ang="0">
                <a:pos x="connsiteX2" y="connsiteY2"/>
              </a:cxn>
              <a:cxn ang="0">
                <a:pos x="connsiteX3" y="connsiteY3"/>
              </a:cxn>
            </a:cxnLst>
            <a:rect l="l" t="t" r="r" b="b"/>
            <a:pathLst>
              <a:path w="12201525" h="5286375">
                <a:moveTo>
                  <a:pt x="0" y="0"/>
                </a:moveTo>
                <a:lnTo>
                  <a:pt x="12201525" y="5277457"/>
                </a:lnTo>
                <a:lnTo>
                  <a:pt x="0" y="5286375"/>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noProof="0" dirty="0"/>
          </a:p>
        </p:txBody>
      </p:sp>
      <p:sp>
        <p:nvSpPr>
          <p:cNvPr id="12" name="Freeform: Shape 11">
            <a:extLst>
              <a:ext uri="{FF2B5EF4-FFF2-40B4-BE49-F238E27FC236}">
                <a16:creationId xmlns:a16="http://schemas.microsoft.com/office/drawing/2014/main" id="{CA5197B9-3FB1-4F6F-9744-9B1F026A1E68}"/>
              </a:ext>
            </a:extLst>
          </p:cNvPr>
          <p:cNvSpPr/>
          <p:nvPr userDrawn="1"/>
        </p:nvSpPr>
        <p:spPr>
          <a:xfrm>
            <a:off x="933452" y="-9525"/>
            <a:ext cx="11249025" cy="6874782"/>
          </a:xfrm>
          <a:custGeom>
            <a:avLst/>
            <a:gdLst>
              <a:gd name="connsiteX0" fmla="*/ 0 w 11249025"/>
              <a:gd name="connsiteY0" fmla="*/ 0 h 6867525"/>
              <a:gd name="connsiteX1" fmla="*/ 3971925 w 11249025"/>
              <a:gd name="connsiteY1" fmla="*/ 6867525 h 6867525"/>
              <a:gd name="connsiteX2" fmla="*/ 6743700 w 11249025"/>
              <a:gd name="connsiteY2" fmla="*/ 6867525 h 6867525"/>
              <a:gd name="connsiteX3" fmla="*/ 11249025 w 11249025"/>
              <a:gd name="connsiteY3" fmla="*/ 3143250 h 6867525"/>
              <a:gd name="connsiteX4" fmla="*/ 11249025 w 11249025"/>
              <a:gd name="connsiteY4" fmla="*/ 9525 h 6867525"/>
              <a:gd name="connsiteX5" fmla="*/ 0 w 11249025"/>
              <a:gd name="connsiteY5" fmla="*/ 0 h 686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9025" h="6867525">
                <a:moveTo>
                  <a:pt x="0" y="0"/>
                </a:moveTo>
                <a:lnTo>
                  <a:pt x="3971925" y="6867525"/>
                </a:lnTo>
                <a:lnTo>
                  <a:pt x="6743700" y="6867525"/>
                </a:lnTo>
                <a:lnTo>
                  <a:pt x="11249025" y="3143250"/>
                </a:lnTo>
                <a:lnTo>
                  <a:pt x="11249025" y="9525"/>
                </a:lnTo>
                <a:lnTo>
                  <a:pt x="0" y="0"/>
                </a:lnTo>
                <a:close/>
              </a:path>
            </a:pathLst>
          </a:custGeom>
          <a:gradFill flip="none" rotWithShape="1">
            <a:gsLst>
              <a:gs pos="4300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nl-NL" sz="1350" noProof="0" dirty="0">
              <a:solidFill>
                <a:srgbClr val="248D37"/>
              </a:solidFill>
            </a:endParaRPr>
          </a:p>
        </p:txBody>
      </p:sp>
      <p:sp>
        <p:nvSpPr>
          <p:cNvPr id="11" name="Freeform: Shape 10">
            <a:extLst>
              <a:ext uri="{FF2B5EF4-FFF2-40B4-BE49-F238E27FC236}">
                <a16:creationId xmlns:a16="http://schemas.microsoft.com/office/drawing/2014/main" id="{ABEBECF9-53D6-4F15-B120-0BFBAE7FB9AC}"/>
              </a:ext>
            </a:extLst>
          </p:cNvPr>
          <p:cNvSpPr/>
          <p:nvPr userDrawn="1"/>
        </p:nvSpPr>
        <p:spPr>
          <a:xfrm>
            <a:off x="-9593" y="-9525"/>
            <a:ext cx="12211119" cy="6862763"/>
          </a:xfrm>
          <a:custGeom>
            <a:avLst/>
            <a:gdLst>
              <a:gd name="connsiteX0" fmla="*/ 0 w 12211050"/>
              <a:gd name="connsiteY0" fmla="*/ 1552575 h 6848475"/>
              <a:gd name="connsiteX1" fmla="*/ 12211050 w 12211050"/>
              <a:gd name="connsiteY1" fmla="*/ 6848475 h 6848475"/>
              <a:gd name="connsiteX2" fmla="*/ 12211050 w 12211050"/>
              <a:gd name="connsiteY2" fmla="*/ 0 h 6848475"/>
              <a:gd name="connsiteX3" fmla="*/ 9525 w 12211050"/>
              <a:gd name="connsiteY3" fmla="*/ 0 h 6848475"/>
              <a:gd name="connsiteX4" fmla="*/ 0 w 12211050"/>
              <a:gd name="connsiteY4" fmla="*/ 1552575 h 6848475"/>
              <a:gd name="connsiteX0" fmla="*/ 0 w 12211050"/>
              <a:gd name="connsiteY0" fmla="*/ 1552575 h 6862763"/>
              <a:gd name="connsiteX1" fmla="*/ 12206287 w 12211050"/>
              <a:gd name="connsiteY1" fmla="*/ 6862763 h 6862763"/>
              <a:gd name="connsiteX2" fmla="*/ 12211050 w 12211050"/>
              <a:gd name="connsiteY2" fmla="*/ 0 h 6862763"/>
              <a:gd name="connsiteX3" fmla="*/ 9525 w 12211050"/>
              <a:gd name="connsiteY3" fmla="*/ 0 h 6862763"/>
              <a:gd name="connsiteX4" fmla="*/ 0 w 12211050"/>
              <a:gd name="connsiteY4" fmla="*/ 1552575 h 6862763"/>
              <a:gd name="connsiteX0" fmla="*/ 3175 w 12201525"/>
              <a:gd name="connsiteY0" fmla="*/ 917575 h 6862763"/>
              <a:gd name="connsiteX1" fmla="*/ 12196762 w 12201525"/>
              <a:gd name="connsiteY1" fmla="*/ 6862763 h 6862763"/>
              <a:gd name="connsiteX2" fmla="*/ 12201525 w 12201525"/>
              <a:gd name="connsiteY2" fmla="*/ 0 h 6862763"/>
              <a:gd name="connsiteX3" fmla="*/ 0 w 12201525"/>
              <a:gd name="connsiteY3" fmla="*/ 0 h 6862763"/>
              <a:gd name="connsiteX4" fmla="*/ 3175 w 12201525"/>
              <a:gd name="connsiteY4" fmla="*/ 917575 h 6862763"/>
              <a:gd name="connsiteX0" fmla="*/ 68 w 12211118"/>
              <a:gd name="connsiteY0" fmla="*/ 790575 h 6862763"/>
              <a:gd name="connsiteX1" fmla="*/ 12206355 w 12211118"/>
              <a:gd name="connsiteY1" fmla="*/ 6862763 h 6862763"/>
              <a:gd name="connsiteX2" fmla="*/ 12211118 w 12211118"/>
              <a:gd name="connsiteY2" fmla="*/ 0 h 6862763"/>
              <a:gd name="connsiteX3" fmla="*/ 9593 w 12211118"/>
              <a:gd name="connsiteY3" fmla="*/ 0 h 6862763"/>
              <a:gd name="connsiteX4" fmla="*/ 68 w 12211118"/>
              <a:gd name="connsiteY4" fmla="*/ 790575 h 6862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11118" h="6862763">
                <a:moveTo>
                  <a:pt x="68" y="790575"/>
                </a:moveTo>
                <a:cubicBezTo>
                  <a:pt x="4068830" y="2560638"/>
                  <a:pt x="8137593" y="5092700"/>
                  <a:pt x="12206355" y="6862763"/>
                </a:cubicBezTo>
                <a:cubicBezTo>
                  <a:pt x="12207943" y="4575175"/>
                  <a:pt x="12209530" y="2287588"/>
                  <a:pt x="12211118" y="0"/>
                </a:cubicBezTo>
                <a:lnTo>
                  <a:pt x="9593" y="0"/>
                </a:lnTo>
                <a:cubicBezTo>
                  <a:pt x="10651" y="305858"/>
                  <a:pt x="-990" y="484717"/>
                  <a:pt x="68" y="790575"/>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noProof="0" dirty="0"/>
          </a:p>
        </p:txBody>
      </p:sp>
      <p:sp>
        <p:nvSpPr>
          <p:cNvPr id="27" name="Freeform: Shape 26">
            <a:extLst>
              <a:ext uri="{FF2B5EF4-FFF2-40B4-BE49-F238E27FC236}">
                <a16:creationId xmlns:a16="http://schemas.microsoft.com/office/drawing/2014/main" id="{FC13901E-0274-4A70-9E54-F31B476A2A70}"/>
              </a:ext>
            </a:extLst>
          </p:cNvPr>
          <p:cNvSpPr/>
          <p:nvPr userDrawn="1"/>
        </p:nvSpPr>
        <p:spPr>
          <a:xfrm>
            <a:off x="9329661" y="3143393"/>
            <a:ext cx="2873217" cy="3714150"/>
          </a:xfrm>
          <a:custGeom>
            <a:avLst/>
            <a:gdLst>
              <a:gd name="connsiteX0" fmla="*/ 2929756 w 2929756"/>
              <a:gd name="connsiteY0" fmla="*/ 0 h 3707800"/>
              <a:gd name="connsiteX1" fmla="*/ 2929756 w 2929756"/>
              <a:gd name="connsiteY1" fmla="*/ 3707800 h 3707800"/>
              <a:gd name="connsiteX2" fmla="*/ 0 w 2929756"/>
              <a:gd name="connsiteY2" fmla="*/ 2414151 h 3707800"/>
              <a:gd name="connsiteX0" fmla="*/ 2929756 w 2929756"/>
              <a:gd name="connsiteY0" fmla="*/ 0 h 3771300"/>
              <a:gd name="connsiteX1" fmla="*/ 2866256 w 2929756"/>
              <a:gd name="connsiteY1" fmla="*/ 3771300 h 3771300"/>
              <a:gd name="connsiteX2" fmla="*/ 0 w 2929756"/>
              <a:gd name="connsiteY2" fmla="*/ 2414151 h 3771300"/>
              <a:gd name="connsiteX3" fmla="*/ 2929756 w 2929756"/>
              <a:gd name="connsiteY3" fmla="*/ 0 h 3771300"/>
              <a:gd name="connsiteX0" fmla="*/ 2885306 w 2885306"/>
              <a:gd name="connsiteY0" fmla="*/ 0 h 3752250"/>
              <a:gd name="connsiteX1" fmla="*/ 2866256 w 2885306"/>
              <a:gd name="connsiteY1" fmla="*/ 3752250 h 3752250"/>
              <a:gd name="connsiteX2" fmla="*/ 0 w 2885306"/>
              <a:gd name="connsiteY2" fmla="*/ 2395101 h 3752250"/>
              <a:gd name="connsiteX3" fmla="*/ 2885306 w 2885306"/>
              <a:gd name="connsiteY3" fmla="*/ 0 h 3752250"/>
              <a:gd name="connsiteX0" fmla="*/ 2872606 w 2872606"/>
              <a:gd name="connsiteY0" fmla="*/ 0 h 3714150"/>
              <a:gd name="connsiteX1" fmla="*/ 2866256 w 2872606"/>
              <a:gd name="connsiteY1" fmla="*/ 3714150 h 3714150"/>
              <a:gd name="connsiteX2" fmla="*/ 0 w 2872606"/>
              <a:gd name="connsiteY2" fmla="*/ 2357001 h 3714150"/>
              <a:gd name="connsiteX3" fmla="*/ 2872606 w 2872606"/>
              <a:gd name="connsiteY3" fmla="*/ 0 h 3714150"/>
              <a:gd name="connsiteX0" fmla="*/ 2872606 w 2873217"/>
              <a:gd name="connsiteY0" fmla="*/ 0 h 3714150"/>
              <a:gd name="connsiteX1" fmla="*/ 2872606 w 2873217"/>
              <a:gd name="connsiteY1" fmla="*/ 3714150 h 3714150"/>
              <a:gd name="connsiteX2" fmla="*/ 0 w 2873217"/>
              <a:gd name="connsiteY2" fmla="*/ 2357001 h 3714150"/>
              <a:gd name="connsiteX3" fmla="*/ 2872606 w 2873217"/>
              <a:gd name="connsiteY3" fmla="*/ 0 h 3714150"/>
              <a:gd name="connsiteX0" fmla="*/ 2872606 w 2873217"/>
              <a:gd name="connsiteY0" fmla="*/ 0 h 3714150"/>
              <a:gd name="connsiteX1" fmla="*/ 2872606 w 2873217"/>
              <a:gd name="connsiteY1" fmla="*/ 3714150 h 3714150"/>
              <a:gd name="connsiteX2" fmla="*/ 2595640 w 2873217"/>
              <a:gd name="connsiteY2" fmla="*/ 3574907 h 3714150"/>
              <a:gd name="connsiteX3" fmla="*/ 0 w 2873217"/>
              <a:gd name="connsiteY3" fmla="*/ 2357001 h 3714150"/>
              <a:gd name="connsiteX4" fmla="*/ 2872606 w 2873217"/>
              <a:gd name="connsiteY4" fmla="*/ 0 h 3714150"/>
              <a:gd name="connsiteX0" fmla="*/ 2872606 w 2873217"/>
              <a:gd name="connsiteY0" fmla="*/ 0 h 3714150"/>
              <a:gd name="connsiteX1" fmla="*/ 2872606 w 2873217"/>
              <a:gd name="connsiteY1" fmla="*/ 3714150 h 3714150"/>
              <a:gd name="connsiteX2" fmla="*/ 2627390 w 2873217"/>
              <a:gd name="connsiteY2" fmla="*/ 3632057 h 3714150"/>
              <a:gd name="connsiteX3" fmla="*/ 0 w 2873217"/>
              <a:gd name="connsiteY3" fmla="*/ 2357001 h 3714150"/>
              <a:gd name="connsiteX4" fmla="*/ 2872606 w 2873217"/>
              <a:gd name="connsiteY4" fmla="*/ 0 h 3714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3217" h="3714150">
                <a:moveTo>
                  <a:pt x="2872606" y="0"/>
                </a:moveTo>
                <a:cubicBezTo>
                  <a:pt x="2870489" y="1238050"/>
                  <a:pt x="2874723" y="2476100"/>
                  <a:pt x="2872606" y="3714150"/>
                </a:cubicBezTo>
                <a:lnTo>
                  <a:pt x="2627390" y="3632057"/>
                </a:lnTo>
                <a:lnTo>
                  <a:pt x="0" y="2357001"/>
                </a:lnTo>
                <a:lnTo>
                  <a:pt x="2872606" y="0"/>
                </a:lnTo>
                <a:close/>
              </a:path>
            </a:pathLst>
          </a:custGeom>
          <a:gradFill flip="none" rotWithShape="1">
            <a:gsLst>
              <a:gs pos="0">
                <a:schemeClr val="accent3"/>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nl-NL" sz="1350" noProof="0" dirty="0">
              <a:solidFill>
                <a:srgbClr val="248D37"/>
              </a:solidFill>
            </a:endParaRPr>
          </a:p>
        </p:txBody>
      </p:sp>
      <p:sp>
        <p:nvSpPr>
          <p:cNvPr id="10" name="Freeform: Shape 9">
            <a:extLst>
              <a:ext uri="{FF2B5EF4-FFF2-40B4-BE49-F238E27FC236}">
                <a16:creationId xmlns:a16="http://schemas.microsoft.com/office/drawing/2014/main" id="{571348FA-57BA-4956-9B31-348AE1E5E7CC}"/>
              </a:ext>
            </a:extLst>
          </p:cNvPr>
          <p:cNvSpPr/>
          <p:nvPr userDrawn="1"/>
        </p:nvSpPr>
        <p:spPr>
          <a:xfrm>
            <a:off x="-9526" y="-9527"/>
            <a:ext cx="4286251" cy="6877051"/>
          </a:xfrm>
          <a:custGeom>
            <a:avLst/>
            <a:gdLst>
              <a:gd name="connsiteX0" fmla="*/ 0 w 4248150"/>
              <a:gd name="connsiteY0" fmla="*/ 0 h 6877050"/>
              <a:gd name="connsiteX1" fmla="*/ 0 w 4248150"/>
              <a:gd name="connsiteY1" fmla="*/ 6877050 h 6877050"/>
              <a:gd name="connsiteX2" fmla="*/ 2914650 w 4248150"/>
              <a:gd name="connsiteY2" fmla="*/ 6877050 h 6877050"/>
              <a:gd name="connsiteX3" fmla="*/ 4248150 w 4248150"/>
              <a:gd name="connsiteY3" fmla="*/ 5753100 h 6877050"/>
              <a:gd name="connsiteX4" fmla="*/ 962025 w 4248150"/>
              <a:gd name="connsiteY4" fmla="*/ 19050 h 6877050"/>
              <a:gd name="connsiteX5" fmla="*/ 0 w 4248150"/>
              <a:gd name="connsiteY5" fmla="*/ 0 h 6877050"/>
              <a:gd name="connsiteX0" fmla="*/ 0 w 4248150"/>
              <a:gd name="connsiteY0" fmla="*/ 1 h 6877051"/>
              <a:gd name="connsiteX1" fmla="*/ 0 w 4248150"/>
              <a:gd name="connsiteY1" fmla="*/ 6877051 h 6877051"/>
              <a:gd name="connsiteX2" fmla="*/ 2914650 w 4248150"/>
              <a:gd name="connsiteY2" fmla="*/ 6877051 h 6877051"/>
              <a:gd name="connsiteX3" fmla="*/ 4248150 w 4248150"/>
              <a:gd name="connsiteY3" fmla="*/ 5753101 h 6877051"/>
              <a:gd name="connsiteX4" fmla="*/ 952500 w 4248150"/>
              <a:gd name="connsiteY4" fmla="*/ 0 h 6877051"/>
              <a:gd name="connsiteX5" fmla="*/ 0 w 4248150"/>
              <a:gd name="connsiteY5" fmla="*/ 1 h 6877051"/>
              <a:gd name="connsiteX0" fmla="*/ 0 w 4286250"/>
              <a:gd name="connsiteY0" fmla="*/ 1 h 6877051"/>
              <a:gd name="connsiteX1" fmla="*/ 0 w 4286250"/>
              <a:gd name="connsiteY1" fmla="*/ 6877051 h 6877051"/>
              <a:gd name="connsiteX2" fmla="*/ 29146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46751 h 6877051"/>
              <a:gd name="connsiteX4" fmla="*/ 952500 w 4286250"/>
              <a:gd name="connsiteY4" fmla="*/ 0 h 6877051"/>
              <a:gd name="connsiteX5" fmla="*/ 0 w 4286250"/>
              <a:gd name="connsiteY5" fmla="*/ 1 h 6877051"/>
              <a:gd name="connsiteX0" fmla="*/ 0 w 4286250"/>
              <a:gd name="connsiteY0" fmla="*/ 1 h 6877051"/>
              <a:gd name="connsiteX1" fmla="*/ 0 w 4286250"/>
              <a:gd name="connsiteY1" fmla="*/ 6877051 h 6877051"/>
              <a:gd name="connsiteX2" fmla="*/ 2927350 w 4286250"/>
              <a:gd name="connsiteY2" fmla="*/ 6877051 h 6877051"/>
              <a:gd name="connsiteX3" fmla="*/ 4286250 w 4286250"/>
              <a:gd name="connsiteY3" fmla="*/ 5753101 h 6877051"/>
              <a:gd name="connsiteX4" fmla="*/ 952500 w 4286250"/>
              <a:gd name="connsiteY4" fmla="*/ 0 h 6877051"/>
              <a:gd name="connsiteX5" fmla="*/ 0 w 4286250"/>
              <a:gd name="connsiteY5" fmla="*/ 1 h 687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6250" h="6877051">
                <a:moveTo>
                  <a:pt x="0" y="1"/>
                </a:moveTo>
                <a:lnTo>
                  <a:pt x="0" y="6877051"/>
                </a:lnTo>
                <a:lnTo>
                  <a:pt x="2927350" y="6877051"/>
                </a:lnTo>
                <a:lnTo>
                  <a:pt x="4286250" y="5753101"/>
                </a:lnTo>
                <a:lnTo>
                  <a:pt x="952500" y="0"/>
                </a:lnTo>
                <a:lnTo>
                  <a:pt x="0" y="1"/>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sz="1350" noProof="0" dirty="0"/>
          </a:p>
        </p:txBody>
      </p:sp>
      <p:sp>
        <p:nvSpPr>
          <p:cNvPr id="26" name="Text Placeholder 25">
            <a:extLst>
              <a:ext uri="{FF2B5EF4-FFF2-40B4-BE49-F238E27FC236}">
                <a16:creationId xmlns:a16="http://schemas.microsoft.com/office/drawing/2014/main" id="{22DCC58E-A4D6-45DC-BAB4-7C5D3B8CDBFD}"/>
              </a:ext>
            </a:extLst>
          </p:cNvPr>
          <p:cNvSpPr>
            <a:spLocks noGrp="1"/>
          </p:cNvSpPr>
          <p:nvPr>
            <p:ph type="body" sz="quarter" idx="13" hasCustomPrompt="1"/>
          </p:nvPr>
        </p:nvSpPr>
        <p:spPr>
          <a:xfrm>
            <a:off x="2028695" y="2506796"/>
            <a:ext cx="8163188" cy="1006475"/>
          </a:xfrm>
          <a:prstGeom prst="rect">
            <a:avLst/>
          </a:prstGeom>
        </p:spPr>
        <p:txBody>
          <a:bodyPr anchor="b" anchorCtr="0"/>
          <a:lstStyle>
            <a:lvl1pPr marL="0" indent="0" algn="ctr">
              <a:buNone/>
              <a:defRPr sz="2800" b="1">
                <a:solidFill>
                  <a:schemeClr val="bg1"/>
                </a:solidFill>
              </a:defRPr>
            </a:lvl1pPr>
            <a:lvl2pPr marL="342900" indent="0">
              <a:buNone/>
              <a:defRPr/>
            </a:lvl2pPr>
          </a:lstStyle>
          <a:p>
            <a:pPr lvl="0"/>
            <a:r>
              <a:rPr lang="nl-NL" noProof="0" dirty="0"/>
              <a:t>Kop</a:t>
            </a:r>
          </a:p>
        </p:txBody>
      </p:sp>
      <p:sp>
        <p:nvSpPr>
          <p:cNvPr id="28" name="Text Placeholder 27">
            <a:extLst>
              <a:ext uri="{FF2B5EF4-FFF2-40B4-BE49-F238E27FC236}">
                <a16:creationId xmlns:a16="http://schemas.microsoft.com/office/drawing/2014/main" id="{C282ECD2-D70B-41C5-87C7-72AF4BC8837B}"/>
              </a:ext>
            </a:extLst>
          </p:cNvPr>
          <p:cNvSpPr>
            <a:spLocks noGrp="1"/>
          </p:cNvSpPr>
          <p:nvPr>
            <p:ph type="body" sz="quarter" idx="14" hasCustomPrompt="1"/>
          </p:nvPr>
        </p:nvSpPr>
        <p:spPr>
          <a:xfrm>
            <a:off x="2019302" y="3724407"/>
            <a:ext cx="8239124" cy="728662"/>
          </a:xfrm>
          <a:prstGeom prst="rect">
            <a:avLst/>
          </a:prstGeom>
        </p:spPr>
        <p:txBody>
          <a:bodyPr/>
          <a:lstStyle>
            <a:lvl1pPr marL="0" indent="0" algn="ctr">
              <a:buNone/>
              <a:defRPr sz="1600" b="0">
                <a:solidFill>
                  <a:schemeClr val="bg1"/>
                </a:solidFill>
              </a:defRPr>
            </a:lvl1pPr>
          </a:lstStyle>
          <a:p>
            <a:pPr lvl="0"/>
            <a:r>
              <a:rPr lang="nl-NL" noProof="0" dirty="0"/>
              <a:t>Ruimte voor een subtitel</a:t>
            </a:r>
          </a:p>
        </p:txBody>
      </p:sp>
      <p:sp>
        <p:nvSpPr>
          <p:cNvPr id="34" name="Freeform: Shape 33">
            <a:extLst>
              <a:ext uri="{FF2B5EF4-FFF2-40B4-BE49-F238E27FC236}">
                <a16:creationId xmlns:a16="http://schemas.microsoft.com/office/drawing/2014/main" id="{2A52F2AF-1BD3-482F-8024-ED87C89BBC0E}"/>
              </a:ext>
            </a:extLst>
          </p:cNvPr>
          <p:cNvSpPr/>
          <p:nvPr userDrawn="1"/>
        </p:nvSpPr>
        <p:spPr>
          <a:xfrm>
            <a:off x="2916766" y="5740665"/>
            <a:ext cx="2025227" cy="1126755"/>
          </a:xfrm>
          <a:custGeom>
            <a:avLst/>
            <a:gdLst>
              <a:gd name="connsiteX0" fmla="*/ 0 w 2025226"/>
              <a:gd name="connsiteY0" fmla="*/ 1124374 h 1124374"/>
              <a:gd name="connsiteX1" fmla="*/ 1361440 w 2025226"/>
              <a:gd name="connsiteY1" fmla="*/ 0 h 1124374"/>
              <a:gd name="connsiteX2" fmla="*/ 2025226 w 2025226"/>
              <a:gd name="connsiteY2" fmla="*/ 1117600 h 1124374"/>
              <a:gd name="connsiteX3" fmla="*/ 0 w 2025226"/>
              <a:gd name="connsiteY3" fmla="*/ 1124374 h 1124374"/>
              <a:gd name="connsiteX0" fmla="*/ 0 w 2025226"/>
              <a:gd name="connsiteY0" fmla="*/ 1129137 h 1129137"/>
              <a:gd name="connsiteX1" fmla="*/ 1370965 w 2025226"/>
              <a:gd name="connsiteY1" fmla="*/ 0 h 1129137"/>
              <a:gd name="connsiteX2" fmla="*/ 2025226 w 2025226"/>
              <a:gd name="connsiteY2" fmla="*/ 1122363 h 1129137"/>
              <a:gd name="connsiteX3" fmla="*/ 0 w 2025226"/>
              <a:gd name="connsiteY3" fmla="*/ 1129137 h 1129137"/>
              <a:gd name="connsiteX0" fmla="*/ 0 w 2025226"/>
              <a:gd name="connsiteY0" fmla="*/ 1141043 h 1141043"/>
              <a:gd name="connsiteX1" fmla="*/ 1361440 w 2025226"/>
              <a:gd name="connsiteY1" fmla="*/ 0 h 1141043"/>
              <a:gd name="connsiteX2" fmla="*/ 2025226 w 2025226"/>
              <a:gd name="connsiteY2" fmla="*/ 1134269 h 1141043"/>
              <a:gd name="connsiteX3" fmla="*/ 0 w 2025226"/>
              <a:gd name="connsiteY3" fmla="*/ 1141043 h 1141043"/>
              <a:gd name="connsiteX0" fmla="*/ 0 w 2025226"/>
              <a:gd name="connsiteY0" fmla="*/ 1141043 h 1141043"/>
              <a:gd name="connsiteX1" fmla="*/ 1361440 w 2025226"/>
              <a:gd name="connsiteY1" fmla="*/ 0 h 1141043"/>
              <a:gd name="connsiteX2" fmla="*/ 2025226 w 2025226"/>
              <a:gd name="connsiteY2" fmla="*/ 1124744 h 1141043"/>
              <a:gd name="connsiteX3" fmla="*/ 0 w 2025226"/>
              <a:gd name="connsiteY3" fmla="*/ 1141043 h 1141043"/>
              <a:gd name="connsiteX0" fmla="*/ 0 w 2025226"/>
              <a:gd name="connsiteY0" fmla="*/ 1126755 h 1126755"/>
              <a:gd name="connsiteX1" fmla="*/ 1361440 w 2025226"/>
              <a:gd name="connsiteY1" fmla="*/ 0 h 1126755"/>
              <a:gd name="connsiteX2" fmla="*/ 2025226 w 2025226"/>
              <a:gd name="connsiteY2" fmla="*/ 1124744 h 1126755"/>
              <a:gd name="connsiteX3" fmla="*/ 0 w 2025226"/>
              <a:gd name="connsiteY3" fmla="*/ 1126755 h 1126755"/>
            </a:gdLst>
            <a:ahLst/>
            <a:cxnLst>
              <a:cxn ang="0">
                <a:pos x="connsiteX0" y="connsiteY0"/>
              </a:cxn>
              <a:cxn ang="0">
                <a:pos x="connsiteX1" y="connsiteY1"/>
              </a:cxn>
              <a:cxn ang="0">
                <a:pos x="connsiteX2" y="connsiteY2"/>
              </a:cxn>
              <a:cxn ang="0">
                <a:pos x="connsiteX3" y="connsiteY3"/>
              </a:cxn>
            </a:cxnLst>
            <a:rect l="l" t="t" r="r" b="b"/>
            <a:pathLst>
              <a:path w="2025226" h="1126755">
                <a:moveTo>
                  <a:pt x="0" y="1126755"/>
                </a:moveTo>
                <a:lnTo>
                  <a:pt x="1361440" y="0"/>
                </a:lnTo>
                <a:lnTo>
                  <a:pt x="2025226" y="1124744"/>
                </a:lnTo>
                <a:lnTo>
                  <a:pt x="0" y="1126755"/>
                </a:lnTo>
                <a:close/>
              </a:path>
            </a:pathLst>
          </a:custGeom>
          <a:gradFill flip="none" rotWithShape="1">
            <a:gsLst>
              <a:gs pos="0">
                <a:schemeClr val="bg1"/>
              </a:gs>
              <a:gs pos="57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nl-NL" sz="1350" noProof="0" dirty="0">
              <a:solidFill>
                <a:srgbClr val="248D37"/>
              </a:solidFill>
            </a:endParaRPr>
          </a:p>
        </p:txBody>
      </p:sp>
      <p:sp>
        <p:nvSpPr>
          <p:cNvPr id="14" name="Freeform 13">
            <a:extLst>
              <a:ext uri="{FF2B5EF4-FFF2-40B4-BE49-F238E27FC236}">
                <a16:creationId xmlns:a16="http://schemas.microsoft.com/office/drawing/2014/main" id="{92800C22-FDE7-4BD9-83C8-60C7D87334A8}"/>
              </a:ext>
            </a:extLst>
          </p:cNvPr>
          <p:cNvSpPr>
            <a:spLocks/>
          </p:cNvSpPr>
          <p:nvPr userDrawn="1"/>
        </p:nvSpPr>
        <p:spPr bwMode="auto">
          <a:xfrm>
            <a:off x="10414000" y="6256217"/>
            <a:ext cx="1787525" cy="601787"/>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Lst>
            <a:ahLst/>
            <a:cxnLst>
              <a:cxn ang="0">
                <a:pos x="T0" y="T1"/>
              </a:cxn>
              <a:cxn ang="0">
                <a:pos x="T2" y="T3"/>
              </a:cxn>
              <a:cxn ang="0">
                <a:pos x="T4" y="T5"/>
              </a:cxn>
              <a:cxn ang="0">
                <a:pos x="T6" y="T7"/>
              </a:cxn>
              <a:cxn ang="0">
                <a:pos x="T8" y="T9"/>
              </a:cxn>
            </a:cxnLst>
            <a:rect l="0" t="0" r="r" b="b"/>
            <a:pathLst>
              <a:path w="3176" h="1121">
                <a:moveTo>
                  <a:pt x="0" y="1121"/>
                </a:moveTo>
                <a:lnTo>
                  <a:pt x="821" y="0"/>
                </a:lnTo>
                <a:lnTo>
                  <a:pt x="3176" y="0"/>
                </a:lnTo>
                <a:lnTo>
                  <a:pt x="3176" y="1121"/>
                </a:lnTo>
                <a:lnTo>
                  <a:pt x="0" y="1121"/>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nl-NL" sz="1350" noProof="0" dirty="0"/>
          </a:p>
        </p:txBody>
      </p:sp>
      <p:sp>
        <p:nvSpPr>
          <p:cNvPr id="29" name="Rechthoek 6">
            <a:extLst>
              <a:ext uri="{FF2B5EF4-FFF2-40B4-BE49-F238E27FC236}">
                <a16:creationId xmlns:a16="http://schemas.microsoft.com/office/drawing/2014/main" id="{939F435D-1D63-4ED9-8C0B-F19B4FFDA104}"/>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nl-NL" sz="900" b="0" noProof="0">
                <a:solidFill>
                  <a:schemeClr val="bg1"/>
                </a:solidFill>
                <a:cs typeface="Arial" pitchFamily="34" charset="0"/>
              </a:rPr>
              <a:pPr algn="ctr" fontAlgn="auto">
                <a:spcBef>
                  <a:spcPts val="0"/>
                </a:spcBef>
                <a:spcAft>
                  <a:spcPts val="0"/>
                </a:spcAft>
                <a:defRPr/>
              </a:pPr>
              <a:t>‹nr.›</a:t>
            </a:fld>
            <a:endParaRPr lang="nl-NL" sz="900" b="0" noProof="0" dirty="0">
              <a:solidFill>
                <a:schemeClr val="bg1"/>
              </a:solidFill>
              <a:cs typeface="Arial" pitchFamily="34" charset="0"/>
            </a:endParaRPr>
          </a:p>
        </p:txBody>
      </p:sp>
    </p:spTree>
    <p:extLst>
      <p:ext uri="{BB962C8B-B14F-4D97-AF65-F5344CB8AC3E}">
        <p14:creationId xmlns:p14="http://schemas.microsoft.com/office/powerpoint/2010/main" val="22834365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CBB7A2-9731-4FDD-BB80-56E820AB956C}"/>
              </a:ext>
            </a:extLst>
          </p:cNvPr>
          <p:cNvGraphicFramePr>
            <a:graphicFrameLocks noChangeAspect="1"/>
          </p:cNvGraphicFramePr>
          <p:nvPr userDrawn="1">
            <p:custDataLst>
              <p:tags r:id="rId1"/>
            </p:custDataLst>
            <p:extLst>
              <p:ext uri="{D42A27DB-BD31-4B8C-83A1-F6EECF244321}">
                <p14:modId xmlns:p14="http://schemas.microsoft.com/office/powerpoint/2010/main" val="3092090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F3CBB7A2-9731-4FDD-BB80-56E820AB95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reeform 13">
            <a:extLst>
              <a:ext uri="{FF2B5EF4-FFF2-40B4-BE49-F238E27FC236}">
                <a16:creationId xmlns:a16="http://schemas.microsoft.com/office/drawing/2014/main" id="{65A54E2A-2DC3-435D-8E51-FBB84F43AB39}"/>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9" y="692606"/>
            <a:ext cx="9600404" cy="601788"/>
          </a:xfrm>
          <a:prstGeom prst="rect">
            <a:avLst/>
          </a:prstGeom>
        </p:spPr>
        <p:txBody>
          <a:bodyPr vert="horz" lIns="0" tIns="46800"/>
          <a:lstStyle>
            <a:lvl1pPr>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3013"/>
            <a:ext cx="9598022" cy="5010943"/>
          </a:xfrm>
          <a:prstGeom prst="rect">
            <a:avLst/>
          </a:prstGeom>
        </p:spPr>
        <p:txBody>
          <a:bodyPr lIns="0"/>
          <a:lstStyle>
            <a:lvl1pPr marL="171450" indent="-171450" rtl="0">
              <a:spcAft>
                <a:spcPts val="600"/>
              </a:spcAft>
              <a:buClr>
                <a:schemeClr val="accent2"/>
              </a:buClr>
              <a:buFont typeface="Arial" panose="020B0604020202020204" pitchFamily="34" charset="0"/>
              <a:buChar char="•"/>
              <a:defRPr sz="1600" b="0">
                <a:solidFill>
                  <a:schemeClr val="tx1"/>
                </a:solidFill>
              </a:defRPr>
            </a:lvl1pPr>
            <a:lvl2pPr marL="449263" indent="-171450" rtl="0">
              <a:spcAft>
                <a:spcPts val="600"/>
              </a:spcAft>
              <a:buClr>
                <a:schemeClr val="accent5"/>
              </a:buClr>
              <a:buFont typeface="Arial" panose="020B0604020202020204" pitchFamily="34" charset="0"/>
              <a:buChar char="̶"/>
              <a:defRPr sz="1400" b="0">
                <a:solidFill>
                  <a:schemeClr val="tx1"/>
                </a:solidFill>
              </a:defRPr>
            </a:lvl2pPr>
            <a:lvl3pPr marL="630238" indent="-171450" rtl="0">
              <a:spcAft>
                <a:spcPts val="600"/>
              </a:spcAft>
              <a:buClr>
                <a:schemeClr val="accent1"/>
              </a:buClr>
              <a:buFont typeface="Arial" panose="020B0604020202020204" pitchFamily="34" charset="0"/>
              <a:buChar char="•"/>
              <a:defRPr sz="1200" b="0">
                <a:solidFill>
                  <a:schemeClr val="tx1"/>
                </a:solidFill>
              </a:defRPr>
            </a:lvl3pPr>
            <a:lvl4pPr marL="896938" indent="-171450" rtl="0">
              <a:spcAft>
                <a:spcPts val="600"/>
              </a:spcAft>
              <a:buClr>
                <a:schemeClr val="accent5"/>
              </a:buClr>
              <a:buFont typeface="Arial" panose="020B0604020202020204" pitchFamily="34" charset="0"/>
              <a:buChar char="̶"/>
              <a:defRPr sz="1200" b="0">
                <a:solidFill>
                  <a:schemeClr val="tx1"/>
                </a:solidFill>
              </a:defRPr>
            </a:lvl4pPr>
            <a:lvl5pPr marL="1077913" indent="-171450" rtl="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Tree>
    <p:extLst>
      <p:ext uri="{BB962C8B-B14F-4D97-AF65-F5344CB8AC3E}">
        <p14:creationId xmlns:p14="http://schemas.microsoft.com/office/powerpoint/2010/main" val="1559003588"/>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orient="horz" pos="686" userDrawn="1">
          <p15:clr>
            <a:srgbClr val="FBAE40"/>
          </p15:clr>
        </p15:guide>
        <p15:guide id="6" orient="horz" pos="497"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ullets - dark">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360D417-1219-4DDA-ADDC-7499A82D83AD}"/>
              </a:ext>
            </a:extLst>
          </p:cNvPr>
          <p:cNvGraphicFramePr>
            <a:graphicFrameLocks noChangeAspect="1"/>
          </p:cNvGraphicFramePr>
          <p:nvPr userDrawn="1">
            <p:custDataLst>
              <p:tags r:id="rId1"/>
            </p:custDataLst>
            <p:extLst>
              <p:ext uri="{D42A27DB-BD31-4B8C-83A1-F6EECF244321}">
                <p14:modId xmlns:p14="http://schemas.microsoft.com/office/powerpoint/2010/main" val="2340025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360D417-1219-4DDA-ADDC-7499A82D83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3">
            <a:extLst>
              <a:ext uri="{FF2B5EF4-FFF2-40B4-BE49-F238E27FC236}">
                <a16:creationId xmlns:a16="http://schemas.microsoft.com/office/drawing/2014/main" id="{EB5C3A99-81B2-4A78-BF9F-0B18B2ADD3A9}"/>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599885" cy="601788"/>
          </a:xfrm>
          <a:prstGeom prst="rect">
            <a:avLst/>
          </a:prstGeom>
        </p:spPr>
        <p:txBody>
          <a:bodyPr vert="horz" lIns="0"/>
          <a:lstStyle>
            <a:lvl1pPr>
              <a:defRPr sz="2800" b="1">
                <a:solidFill>
                  <a:schemeClr val="bg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9599885" cy="4502150"/>
          </a:xfrm>
          <a:prstGeom prst="rect">
            <a:avLst/>
          </a:prstGeom>
        </p:spPr>
        <p:txBody>
          <a:bodyPr/>
          <a:lstStyle>
            <a:lvl1pPr marL="171450" indent="-171450">
              <a:spcAft>
                <a:spcPts val="600"/>
              </a:spcAft>
              <a:buClr>
                <a:schemeClr val="accent2"/>
              </a:buClr>
              <a:buFont typeface="Arial" panose="020B0604020202020204" pitchFamily="34" charset="0"/>
              <a:buChar char="•"/>
              <a:defRPr sz="1600" b="0">
                <a:solidFill>
                  <a:schemeClr val="bg1"/>
                </a:solidFill>
              </a:defRPr>
            </a:lvl1pPr>
            <a:lvl2pPr marL="449263" indent="-171450">
              <a:spcAft>
                <a:spcPts val="600"/>
              </a:spcAft>
              <a:buClr>
                <a:schemeClr val="bg1"/>
              </a:buClr>
              <a:buFont typeface="Arial" panose="020B0604020202020204" pitchFamily="34" charset="0"/>
              <a:buChar char="̶"/>
              <a:defRPr sz="1400" b="0">
                <a:solidFill>
                  <a:schemeClr val="bg1"/>
                </a:solidFill>
              </a:defRPr>
            </a:lvl2pPr>
            <a:lvl3pPr marL="630238" indent="-171450">
              <a:spcAft>
                <a:spcPts val="600"/>
              </a:spcAft>
              <a:buClr>
                <a:schemeClr val="bg1"/>
              </a:buClr>
              <a:buFont typeface="Arial" panose="020B0604020202020204" pitchFamily="34" charset="0"/>
              <a:buChar char="•"/>
              <a:defRPr sz="1200" b="0">
                <a:solidFill>
                  <a:schemeClr val="bg1"/>
                </a:solidFill>
              </a:defRPr>
            </a:lvl3pPr>
            <a:lvl4pPr marL="896938" indent="-171450">
              <a:spcAft>
                <a:spcPts val="600"/>
              </a:spcAft>
              <a:buClr>
                <a:schemeClr val="bg1"/>
              </a:buClr>
              <a:buFont typeface="Arial" panose="020B0604020202020204" pitchFamily="34" charset="0"/>
              <a:buChar char="̶"/>
              <a:defRPr sz="1200" b="0">
                <a:solidFill>
                  <a:schemeClr val="bg1"/>
                </a:solidFill>
              </a:defRPr>
            </a:lvl4pPr>
            <a:lvl5pPr marL="1077913" indent="-171450">
              <a:spcAft>
                <a:spcPts val="600"/>
              </a:spcAft>
              <a:buClr>
                <a:schemeClr val="accent2"/>
              </a:buClr>
              <a:buFont typeface="Arial" panose="020B0604020202020204" pitchFamily="34" charset="0"/>
              <a:buChar char="•"/>
              <a:defRPr sz="1200" b="0">
                <a:solidFill>
                  <a:schemeClr val="bg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8" name="Vrije vorm: vorm 7">
            <a:extLst>
              <a:ext uri="{FF2B5EF4-FFF2-40B4-BE49-F238E27FC236}">
                <a16:creationId xmlns:a16="http://schemas.microsoft.com/office/drawing/2014/main" id="{AA955A63-5F22-4FC8-BF8F-E40C90768EF8}"/>
              </a:ext>
            </a:extLst>
          </p:cNvPr>
          <p:cNvSpPr/>
          <p:nvPr userDrawn="1"/>
        </p:nvSpPr>
        <p:spPr>
          <a:xfrm>
            <a:off x="10530808" y="500295"/>
            <a:ext cx="1017738" cy="290281"/>
          </a:xfrm>
          <a:custGeom>
            <a:avLst/>
            <a:gdLst>
              <a:gd name="connsiteX0" fmla="*/ 696675 w 1017738"/>
              <a:gd name="connsiteY0" fmla="*/ 158105 h 290281"/>
              <a:gd name="connsiteX1" fmla="*/ 672214 w 1017738"/>
              <a:gd name="connsiteY1" fmla="*/ 161041 h 290281"/>
              <a:gd name="connsiteX2" fmla="*/ 654846 w 1017738"/>
              <a:gd name="connsiteY2" fmla="*/ 182323 h 290281"/>
              <a:gd name="connsiteX3" fmla="*/ 676861 w 1017738"/>
              <a:gd name="connsiteY3" fmla="*/ 201647 h 290281"/>
              <a:gd name="connsiteX4" fmla="*/ 696920 w 1017738"/>
              <a:gd name="connsiteY4" fmla="*/ 199201 h 290281"/>
              <a:gd name="connsiteX5" fmla="*/ 696675 w 1017738"/>
              <a:gd name="connsiteY5" fmla="*/ 158105 h 290281"/>
              <a:gd name="connsiteX6" fmla="*/ 500770 w 1017738"/>
              <a:gd name="connsiteY6" fmla="*/ 107856 h 290281"/>
              <a:gd name="connsiteX7" fmla="*/ 495109 w 1017738"/>
              <a:gd name="connsiteY7" fmla="*/ 108203 h 290281"/>
              <a:gd name="connsiteX8" fmla="*/ 482389 w 1017738"/>
              <a:gd name="connsiteY8" fmla="*/ 109915 h 290281"/>
              <a:gd name="connsiteX9" fmla="*/ 482389 w 1017738"/>
              <a:gd name="connsiteY9" fmla="*/ 200180 h 290281"/>
              <a:gd name="connsiteX10" fmla="*/ 500002 w 1017738"/>
              <a:gd name="connsiteY10" fmla="*/ 202626 h 290281"/>
              <a:gd name="connsiteX11" fmla="*/ 534982 w 1017738"/>
              <a:gd name="connsiteY11" fmla="*/ 150767 h 290281"/>
              <a:gd name="connsiteX12" fmla="*/ 500770 w 1017738"/>
              <a:gd name="connsiteY12" fmla="*/ 107856 h 290281"/>
              <a:gd name="connsiteX13" fmla="*/ 680839 w 1017738"/>
              <a:gd name="connsiteY13" fmla="*/ 74177 h 290281"/>
              <a:gd name="connsiteX14" fmla="*/ 699774 w 1017738"/>
              <a:gd name="connsiteY14" fmla="*/ 74527 h 290281"/>
              <a:gd name="connsiteX15" fmla="*/ 742990 w 1017738"/>
              <a:gd name="connsiteY15" fmla="*/ 121657 h 290281"/>
              <a:gd name="connsiteX16" fmla="*/ 742990 w 1017738"/>
              <a:gd name="connsiteY16" fmla="*/ 230594 h 290281"/>
              <a:gd name="connsiteX17" fmla="*/ 698632 w 1017738"/>
              <a:gd name="connsiteY17" fmla="*/ 230594 h 290281"/>
              <a:gd name="connsiteX18" fmla="*/ 698632 w 1017738"/>
              <a:gd name="connsiteY18" fmla="*/ 219505 h 290281"/>
              <a:gd name="connsiteX19" fmla="*/ 652318 w 1017738"/>
              <a:gd name="connsiteY19" fmla="*/ 232551 h 290281"/>
              <a:gd name="connsiteX20" fmla="*/ 609265 w 1017738"/>
              <a:gd name="connsiteY20" fmla="*/ 188846 h 290281"/>
              <a:gd name="connsiteX21" fmla="*/ 654275 w 1017738"/>
              <a:gd name="connsiteY21" fmla="*/ 137313 h 290281"/>
              <a:gd name="connsiteX22" fmla="*/ 696675 w 1017738"/>
              <a:gd name="connsiteY22" fmla="*/ 136660 h 290281"/>
              <a:gd name="connsiteX23" fmla="*/ 696675 w 1017738"/>
              <a:gd name="connsiteY23" fmla="*/ 119700 h 290281"/>
              <a:gd name="connsiteX24" fmla="*/ 675149 w 1017738"/>
              <a:gd name="connsiteY24" fmla="*/ 104697 h 290281"/>
              <a:gd name="connsiteX25" fmla="*/ 621007 w 1017738"/>
              <a:gd name="connsiteY25" fmla="*/ 109915 h 290281"/>
              <a:gd name="connsiteX26" fmla="*/ 621007 w 1017738"/>
              <a:gd name="connsiteY26" fmla="*/ 83170 h 290281"/>
              <a:gd name="connsiteX27" fmla="*/ 680839 w 1017738"/>
              <a:gd name="connsiteY27" fmla="*/ 74177 h 290281"/>
              <a:gd name="connsiteX28" fmla="*/ 880629 w 1017738"/>
              <a:gd name="connsiteY28" fmla="*/ 73712 h 290281"/>
              <a:gd name="connsiteX29" fmla="*/ 911940 w 1017738"/>
              <a:gd name="connsiteY29" fmla="*/ 87655 h 290281"/>
              <a:gd name="connsiteX30" fmla="*/ 981657 w 1017738"/>
              <a:gd name="connsiteY30" fmla="*/ 74446 h 290281"/>
              <a:gd name="connsiteX31" fmla="*/ 1017616 w 1017738"/>
              <a:gd name="connsiteY31" fmla="*/ 117009 h 290281"/>
              <a:gd name="connsiteX32" fmla="*/ 1017616 w 1017738"/>
              <a:gd name="connsiteY32" fmla="*/ 77870 h 290281"/>
              <a:gd name="connsiteX33" fmla="*/ 1017738 w 1017738"/>
              <a:gd name="connsiteY33" fmla="*/ 77870 h 290281"/>
              <a:gd name="connsiteX34" fmla="*/ 1017738 w 1017738"/>
              <a:gd name="connsiteY34" fmla="*/ 116031 h 290281"/>
              <a:gd name="connsiteX35" fmla="*/ 1017738 w 1017738"/>
              <a:gd name="connsiteY35" fmla="*/ 134377 h 290281"/>
              <a:gd name="connsiteX36" fmla="*/ 1017738 w 1017738"/>
              <a:gd name="connsiteY36" fmla="*/ 230023 h 290281"/>
              <a:gd name="connsiteX37" fmla="*/ 969670 w 1017738"/>
              <a:gd name="connsiteY37" fmla="*/ 230023 h 290281"/>
              <a:gd name="connsiteX38" fmla="*/ 969670 w 1017738"/>
              <a:gd name="connsiteY38" fmla="*/ 148321 h 290281"/>
              <a:gd name="connsiteX39" fmla="*/ 969879 w 1017738"/>
              <a:gd name="connsiteY39" fmla="*/ 148321 h 290281"/>
              <a:gd name="connsiteX40" fmla="*/ 969879 w 1017738"/>
              <a:gd name="connsiteY40" fmla="*/ 123125 h 290281"/>
              <a:gd name="connsiteX41" fmla="*/ 949731 w 1017738"/>
              <a:gd name="connsiteY41" fmla="*/ 107225 h 290281"/>
              <a:gd name="connsiteX42" fmla="*/ 922459 w 1017738"/>
              <a:gd name="connsiteY42" fmla="*/ 110160 h 290281"/>
              <a:gd name="connsiteX43" fmla="*/ 922615 w 1017738"/>
              <a:gd name="connsiteY43" fmla="*/ 134377 h 290281"/>
              <a:gd name="connsiteX44" fmla="*/ 922581 w 1017738"/>
              <a:gd name="connsiteY44" fmla="*/ 134377 h 290281"/>
              <a:gd name="connsiteX45" fmla="*/ 922581 w 1017738"/>
              <a:gd name="connsiteY45" fmla="*/ 230023 h 290281"/>
              <a:gd name="connsiteX46" fmla="*/ 874024 w 1017738"/>
              <a:gd name="connsiteY46" fmla="*/ 230023 h 290281"/>
              <a:gd name="connsiteX47" fmla="*/ 874024 w 1017738"/>
              <a:gd name="connsiteY47" fmla="*/ 134377 h 290281"/>
              <a:gd name="connsiteX48" fmla="*/ 874015 w 1017738"/>
              <a:gd name="connsiteY48" fmla="*/ 134377 h 290281"/>
              <a:gd name="connsiteX49" fmla="*/ 873989 w 1017738"/>
              <a:gd name="connsiteY49" fmla="*/ 123125 h 290281"/>
              <a:gd name="connsiteX50" fmla="*/ 854361 w 1017738"/>
              <a:gd name="connsiteY50" fmla="*/ 107225 h 290281"/>
              <a:gd name="connsiteX51" fmla="*/ 827791 w 1017738"/>
              <a:gd name="connsiteY51" fmla="*/ 110160 h 290281"/>
              <a:gd name="connsiteX52" fmla="*/ 828031 w 1017738"/>
              <a:gd name="connsiteY52" fmla="*/ 148321 h 290281"/>
              <a:gd name="connsiteX53" fmla="*/ 828036 w 1017738"/>
              <a:gd name="connsiteY53" fmla="*/ 148321 h 290281"/>
              <a:gd name="connsiteX54" fmla="*/ 828036 w 1017738"/>
              <a:gd name="connsiteY54" fmla="*/ 230023 h 290281"/>
              <a:gd name="connsiteX55" fmla="*/ 780824 w 1017738"/>
              <a:gd name="connsiteY55" fmla="*/ 230023 h 290281"/>
              <a:gd name="connsiteX56" fmla="*/ 780824 w 1017738"/>
              <a:gd name="connsiteY56" fmla="*/ 77381 h 290281"/>
              <a:gd name="connsiteX57" fmla="*/ 828036 w 1017738"/>
              <a:gd name="connsiteY57" fmla="*/ 77381 h 290281"/>
              <a:gd name="connsiteX58" fmla="*/ 828036 w 1017738"/>
              <a:gd name="connsiteY58" fmla="*/ 77870 h 290281"/>
              <a:gd name="connsiteX59" fmla="*/ 828036 w 1017738"/>
              <a:gd name="connsiteY59" fmla="*/ 86921 h 290281"/>
              <a:gd name="connsiteX60" fmla="*/ 880629 w 1017738"/>
              <a:gd name="connsiteY60" fmla="*/ 73712 h 290281"/>
              <a:gd name="connsiteX61" fmla="*/ 434444 w 1017738"/>
              <a:gd name="connsiteY61" fmla="*/ 326 h 290281"/>
              <a:gd name="connsiteX62" fmla="*/ 482715 w 1017738"/>
              <a:gd name="connsiteY62" fmla="*/ 326 h 290281"/>
              <a:gd name="connsiteX63" fmla="*/ 482715 w 1017738"/>
              <a:gd name="connsiteY63" fmla="*/ 85780 h 290281"/>
              <a:gd name="connsiteX64" fmla="*/ 525768 w 1017738"/>
              <a:gd name="connsiteY64" fmla="*/ 74038 h 290281"/>
              <a:gd name="connsiteX65" fmla="*/ 583824 w 1017738"/>
              <a:gd name="connsiteY65" fmla="*/ 145793 h 290281"/>
              <a:gd name="connsiteX66" fmla="*/ 523159 w 1017738"/>
              <a:gd name="connsiteY66" fmla="*/ 228637 h 290281"/>
              <a:gd name="connsiteX67" fmla="*/ 434444 w 1017738"/>
              <a:gd name="connsiteY67" fmla="*/ 222114 h 290281"/>
              <a:gd name="connsiteX68" fmla="*/ 254241 w 1017738"/>
              <a:gd name="connsiteY68" fmla="*/ 0 h 290281"/>
              <a:gd name="connsiteX69" fmla="*/ 322408 w 1017738"/>
              <a:gd name="connsiteY69" fmla="*/ 10111 h 290281"/>
              <a:gd name="connsiteX70" fmla="*/ 301208 w 1017738"/>
              <a:gd name="connsiteY70" fmla="*/ 76484 h 290281"/>
              <a:gd name="connsiteX71" fmla="*/ 371984 w 1017738"/>
              <a:gd name="connsiteY71" fmla="*/ 92140 h 290281"/>
              <a:gd name="connsiteX72" fmla="*/ 233856 w 1017738"/>
              <a:gd name="connsiteY72" fmla="*/ 290281 h 290281"/>
              <a:gd name="connsiteX73" fmla="*/ 132584 w 1017738"/>
              <a:gd name="connsiteY73" fmla="*/ 227659 h 290281"/>
              <a:gd name="connsiteX74" fmla="*/ 95728 w 1017738"/>
              <a:gd name="connsiteY74" fmla="*/ 258970 h 290281"/>
              <a:gd name="connsiteX75" fmla="*/ 90183 w 1017738"/>
              <a:gd name="connsiteY75" fmla="*/ 157535 h 290281"/>
              <a:gd name="connsiteX76" fmla="*/ 0 w 1017738"/>
              <a:gd name="connsiteY76" fmla="*/ 113340 h 290281"/>
              <a:gd name="connsiteX77" fmla="*/ 87574 w 1017738"/>
              <a:gd name="connsiteY77" fmla="*/ 74690 h 290281"/>
              <a:gd name="connsiteX78" fmla="*/ 174984 w 1017738"/>
              <a:gd name="connsiteY78" fmla="*/ 104208 h 290281"/>
              <a:gd name="connsiteX79" fmla="*/ 170418 w 1017738"/>
              <a:gd name="connsiteY79" fmla="*/ 154762 h 290281"/>
              <a:gd name="connsiteX80" fmla="*/ 198957 w 1017738"/>
              <a:gd name="connsiteY80" fmla="*/ 167646 h 290281"/>
              <a:gd name="connsiteX81" fmla="*/ 213634 w 1017738"/>
              <a:gd name="connsiteY81" fmla="*/ 79257 h 290281"/>
              <a:gd name="connsiteX82" fmla="*/ 128017 w 1017738"/>
              <a:gd name="connsiteY82" fmla="*/ 56262 h 290281"/>
              <a:gd name="connsiteX83" fmla="*/ 178735 w 1017738"/>
              <a:gd name="connsiteY83" fmla="*/ 34084 h 290281"/>
              <a:gd name="connsiteX84" fmla="*/ 259786 w 1017738"/>
              <a:gd name="connsiteY84" fmla="*/ 49739 h 290281"/>
              <a:gd name="connsiteX85" fmla="*/ 248696 w 1017738"/>
              <a:gd name="connsiteY85" fmla="*/ 98663 h 290281"/>
              <a:gd name="connsiteX86" fmla="*/ 269897 w 1017738"/>
              <a:gd name="connsiteY86" fmla="*/ 104208 h 290281"/>
              <a:gd name="connsiteX87" fmla="*/ 290118 w 1017738"/>
              <a:gd name="connsiteY87" fmla="*/ 30496 h 290281"/>
              <a:gd name="connsiteX88" fmla="*/ 214613 w 1017738"/>
              <a:gd name="connsiteY88" fmla="*/ 17450 h 290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17738" h="290281">
                <a:moveTo>
                  <a:pt x="696675" y="158105"/>
                </a:moveTo>
                <a:cubicBezTo>
                  <a:pt x="688521" y="159084"/>
                  <a:pt x="678900" y="159084"/>
                  <a:pt x="672214" y="161041"/>
                </a:cubicBezTo>
                <a:cubicBezTo>
                  <a:pt x="667647" y="162753"/>
                  <a:pt x="654356" y="165118"/>
                  <a:pt x="654846" y="182323"/>
                </a:cubicBezTo>
                <a:cubicBezTo>
                  <a:pt x="655335" y="199527"/>
                  <a:pt x="670257" y="201321"/>
                  <a:pt x="676861" y="201647"/>
                </a:cubicBezTo>
                <a:cubicBezTo>
                  <a:pt x="684281" y="202544"/>
                  <a:pt x="690234" y="200017"/>
                  <a:pt x="696920" y="199201"/>
                </a:cubicBezTo>
                <a:cubicBezTo>
                  <a:pt x="696838" y="185503"/>
                  <a:pt x="696757" y="171804"/>
                  <a:pt x="696675" y="158105"/>
                </a:cubicBezTo>
                <a:close/>
                <a:moveTo>
                  <a:pt x="500770" y="107856"/>
                </a:moveTo>
                <a:cubicBezTo>
                  <a:pt x="498972" y="107847"/>
                  <a:pt x="497087" y="107959"/>
                  <a:pt x="495109" y="108203"/>
                </a:cubicBezTo>
                <a:lnTo>
                  <a:pt x="482389" y="109915"/>
                </a:lnTo>
                <a:lnTo>
                  <a:pt x="482389" y="200180"/>
                </a:lnTo>
                <a:cubicBezTo>
                  <a:pt x="487281" y="201485"/>
                  <a:pt x="493152" y="203768"/>
                  <a:pt x="500002" y="202626"/>
                </a:cubicBezTo>
                <a:cubicBezTo>
                  <a:pt x="532454" y="198549"/>
                  <a:pt x="535308" y="167075"/>
                  <a:pt x="534982" y="150767"/>
                </a:cubicBezTo>
                <a:cubicBezTo>
                  <a:pt x="534906" y="135402"/>
                  <a:pt x="527734" y="107997"/>
                  <a:pt x="500770" y="107856"/>
                </a:cubicBezTo>
                <a:close/>
                <a:moveTo>
                  <a:pt x="680839" y="74177"/>
                </a:moveTo>
                <a:cubicBezTo>
                  <a:pt x="687166" y="73934"/>
                  <a:pt x="693455" y="74024"/>
                  <a:pt x="699774" y="74527"/>
                </a:cubicBezTo>
                <a:cubicBezTo>
                  <a:pt x="728122" y="76049"/>
                  <a:pt x="743017" y="97875"/>
                  <a:pt x="742990" y="121657"/>
                </a:cubicBezTo>
                <a:lnTo>
                  <a:pt x="742990" y="230594"/>
                </a:lnTo>
                <a:lnTo>
                  <a:pt x="698632" y="230594"/>
                </a:lnTo>
                <a:lnTo>
                  <a:pt x="698632" y="219505"/>
                </a:lnTo>
                <a:cubicBezTo>
                  <a:pt x="688331" y="226055"/>
                  <a:pt x="673627" y="232850"/>
                  <a:pt x="652318" y="232551"/>
                </a:cubicBezTo>
                <a:cubicBezTo>
                  <a:pt x="621822" y="230947"/>
                  <a:pt x="609917" y="210019"/>
                  <a:pt x="609265" y="188846"/>
                </a:cubicBezTo>
                <a:cubicBezTo>
                  <a:pt x="607878" y="143781"/>
                  <a:pt x="641228" y="140792"/>
                  <a:pt x="654275" y="137313"/>
                </a:cubicBezTo>
                <a:cubicBezTo>
                  <a:pt x="670854" y="134160"/>
                  <a:pt x="684988" y="133698"/>
                  <a:pt x="696675" y="136660"/>
                </a:cubicBezTo>
                <a:lnTo>
                  <a:pt x="696675" y="119700"/>
                </a:lnTo>
                <a:cubicBezTo>
                  <a:pt x="696349" y="111519"/>
                  <a:pt x="688440" y="103093"/>
                  <a:pt x="675149" y="104697"/>
                </a:cubicBezTo>
                <a:cubicBezTo>
                  <a:pt x="653677" y="105213"/>
                  <a:pt x="639054" y="108176"/>
                  <a:pt x="621007" y="109915"/>
                </a:cubicBezTo>
                <a:lnTo>
                  <a:pt x="621007" y="83170"/>
                </a:lnTo>
                <a:cubicBezTo>
                  <a:pt x="642533" y="78624"/>
                  <a:pt x="661858" y="74904"/>
                  <a:pt x="680839" y="74177"/>
                </a:cubicBezTo>
                <a:close/>
                <a:moveTo>
                  <a:pt x="880629" y="73712"/>
                </a:moveTo>
                <a:cubicBezTo>
                  <a:pt x="896448" y="74690"/>
                  <a:pt x="906396" y="82029"/>
                  <a:pt x="911940" y="87655"/>
                </a:cubicBezTo>
                <a:cubicBezTo>
                  <a:pt x="927841" y="81050"/>
                  <a:pt x="965512" y="72733"/>
                  <a:pt x="981657" y="74446"/>
                </a:cubicBezTo>
                <a:cubicBezTo>
                  <a:pt x="1005629" y="78604"/>
                  <a:pt x="1016882" y="95972"/>
                  <a:pt x="1017616" y="117009"/>
                </a:cubicBezTo>
                <a:lnTo>
                  <a:pt x="1017616" y="77870"/>
                </a:lnTo>
                <a:lnTo>
                  <a:pt x="1017738" y="77870"/>
                </a:lnTo>
                <a:lnTo>
                  <a:pt x="1017738" y="116031"/>
                </a:lnTo>
                <a:lnTo>
                  <a:pt x="1017738" y="134377"/>
                </a:lnTo>
                <a:lnTo>
                  <a:pt x="1017738" y="230023"/>
                </a:lnTo>
                <a:lnTo>
                  <a:pt x="969670" y="230023"/>
                </a:lnTo>
                <a:lnTo>
                  <a:pt x="969670" y="148321"/>
                </a:lnTo>
                <a:lnTo>
                  <a:pt x="969879" y="148321"/>
                </a:lnTo>
                <a:cubicBezTo>
                  <a:pt x="969879" y="139922"/>
                  <a:pt x="969960" y="132339"/>
                  <a:pt x="969879" y="123125"/>
                </a:cubicBezTo>
                <a:cubicBezTo>
                  <a:pt x="969797" y="113911"/>
                  <a:pt x="959641" y="106898"/>
                  <a:pt x="949731" y="107225"/>
                </a:cubicBezTo>
                <a:cubicBezTo>
                  <a:pt x="940641" y="107714"/>
                  <a:pt x="931550" y="108448"/>
                  <a:pt x="922459" y="110160"/>
                </a:cubicBezTo>
                <a:lnTo>
                  <a:pt x="922615" y="134377"/>
                </a:lnTo>
                <a:lnTo>
                  <a:pt x="922581" y="134377"/>
                </a:lnTo>
                <a:lnTo>
                  <a:pt x="922581" y="230023"/>
                </a:lnTo>
                <a:lnTo>
                  <a:pt x="874024" y="230023"/>
                </a:lnTo>
                <a:lnTo>
                  <a:pt x="874024" y="134377"/>
                </a:lnTo>
                <a:lnTo>
                  <a:pt x="874015" y="134377"/>
                </a:lnTo>
                <a:lnTo>
                  <a:pt x="873989" y="123125"/>
                </a:lnTo>
                <a:cubicBezTo>
                  <a:pt x="873909" y="113911"/>
                  <a:pt x="864015" y="106898"/>
                  <a:pt x="854361" y="107225"/>
                </a:cubicBezTo>
                <a:cubicBezTo>
                  <a:pt x="845505" y="107714"/>
                  <a:pt x="836648" y="108448"/>
                  <a:pt x="827791" y="110160"/>
                </a:cubicBezTo>
                <a:cubicBezTo>
                  <a:pt x="827951" y="122880"/>
                  <a:pt x="827871" y="135600"/>
                  <a:pt x="828031" y="148321"/>
                </a:cubicBezTo>
                <a:lnTo>
                  <a:pt x="828036" y="148321"/>
                </a:lnTo>
                <a:lnTo>
                  <a:pt x="828036" y="230023"/>
                </a:lnTo>
                <a:lnTo>
                  <a:pt x="780824" y="230023"/>
                </a:lnTo>
                <a:lnTo>
                  <a:pt x="780824" y="77381"/>
                </a:lnTo>
                <a:lnTo>
                  <a:pt x="828036" y="77381"/>
                </a:lnTo>
                <a:lnTo>
                  <a:pt x="828036" y="77870"/>
                </a:lnTo>
                <a:lnTo>
                  <a:pt x="828036" y="86921"/>
                </a:lnTo>
                <a:cubicBezTo>
                  <a:pt x="849970" y="78604"/>
                  <a:pt x="859918" y="74201"/>
                  <a:pt x="880629" y="73712"/>
                </a:cubicBezTo>
                <a:close/>
                <a:moveTo>
                  <a:pt x="434444" y="326"/>
                </a:moveTo>
                <a:lnTo>
                  <a:pt x="482715" y="326"/>
                </a:lnTo>
                <a:lnTo>
                  <a:pt x="482715" y="85780"/>
                </a:lnTo>
                <a:cubicBezTo>
                  <a:pt x="493397" y="81621"/>
                  <a:pt x="507993" y="73304"/>
                  <a:pt x="525768" y="74038"/>
                </a:cubicBezTo>
                <a:cubicBezTo>
                  <a:pt x="560123" y="76348"/>
                  <a:pt x="583879" y="103365"/>
                  <a:pt x="583824" y="145793"/>
                </a:cubicBezTo>
                <a:cubicBezTo>
                  <a:pt x="583770" y="188221"/>
                  <a:pt x="565641" y="218390"/>
                  <a:pt x="523159" y="228637"/>
                </a:cubicBezTo>
                <a:cubicBezTo>
                  <a:pt x="480677" y="238884"/>
                  <a:pt x="464015" y="224288"/>
                  <a:pt x="434444" y="222114"/>
                </a:cubicBezTo>
                <a:close/>
                <a:moveTo>
                  <a:pt x="254241" y="0"/>
                </a:moveTo>
                <a:lnTo>
                  <a:pt x="322408" y="10111"/>
                </a:lnTo>
                <a:lnTo>
                  <a:pt x="301208" y="76484"/>
                </a:lnTo>
                <a:lnTo>
                  <a:pt x="371984" y="92140"/>
                </a:lnTo>
                <a:lnTo>
                  <a:pt x="233856" y="290281"/>
                </a:lnTo>
                <a:lnTo>
                  <a:pt x="132584" y="227659"/>
                </a:lnTo>
                <a:lnTo>
                  <a:pt x="95728" y="258970"/>
                </a:lnTo>
                <a:lnTo>
                  <a:pt x="90183" y="157535"/>
                </a:lnTo>
                <a:lnTo>
                  <a:pt x="0" y="113340"/>
                </a:lnTo>
                <a:lnTo>
                  <a:pt x="87574" y="74690"/>
                </a:lnTo>
                <a:lnTo>
                  <a:pt x="174984" y="104208"/>
                </a:lnTo>
                <a:lnTo>
                  <a:pt x="170418" y="154762"/>
                </a:lnTo>
                <a:lnTo>
                  <a:pt x="198957" y="167646"/>
                </a:lnTo>
                <a:lnTo>
                  <a:pt x="213634" y="79257"/>
                </a:lnTo>
                <a:lnTo>
                  <a:pt x="128017" y="56262"/>
                </a:lnTo>
                <a:lnTo>
                  <a:pt x="178735" y="34084"/>
                </a:lnTo>
                <a:lnTo>
                  <a:pt x="259786" y="49739"/>
                </a:lnTo>
                <a:lnTo>
                  <a:pt x="248696" y="98663"/>
                </a:lnTo>
                <a:lnTo>
                  <a:pt x="269897" y="104208"/>
                </a:lnTo>
                <a:lnTo>
                  <a:pt x="290118" y="30496"/>
                </a:lnTo>
                <a:lnTo>
                  <a:pt x="214613" y="174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446300490"/>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bject + 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34242A8-4673-4F98-9C1D-D29F1D11E711}"/>
              </a:ext>
            </a:extLst>
          </p:cNvPr>
          <p:cNvGraphicFramePr>
            <a:graphicFrameLocks noChangeAspect="1"/>
          </p:cNvGraphicFramePr>
          <p:nvPr userDrawn="1">
            <p:custDataLst>
              <p:tags r:id="rId1"/>
            </p:custDataLst>
            <p:extLst>
              <p:ext uri="{D42A27DB-BD31-4B8C-83A1-F6EECF244321}">
                <p14:modId xmlns:p14="http://schemas.microsoft.com/office/powerpoint/2010/main" val="948499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E34242A8-4673-4F98-9C1D-D29F1D11E7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reeform 13">
            <a:extLst>
              <a:ext uri="{FF2B5EF4-FFF2-40B4-BE49-F238E27FC236}">
                <a16:creationId xmlns:a16="http://schemas.microsoft.com/office/drawing/2014/main" id="{74B3BFE1-BFBB-431A-8FCE-214226F44873}"/>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5" cy="601788"/>
          </a:xfrm>
          <a:prstGeom prst="rect">
            <a:avLst/>
          </a:prstGeom>
        </p:spPr>
        <p:txBody>
          <a:bodyPr vert="horz" lIns="0" tIns="46800" rIns="0"/>
          <a:lstStyle>
            <a:lvl1pPr>
              <a:defRPr sz="2800" b="1">
                <a:solidFill>
                  <a:schemeClr val="accent1"/>
                </a:solidFill>
              </a:defRPr>
            </a:lvl1pPr>
          </a:lstStyle>
          <a:p>
            <a:r>
              <a:rPr lang="nl-NL" noProof="0" dirty="0"/>
              <a:t>Titel</a:t>
            </a:r>
          </a:p>
        </p:txBody>
      </p:sp>
      <p:sp>
        <p:nvSpPr>
          <p:cNvPr id="10" name="Tijdelijke aanduiding voor inhoud 3">
            <a:extLst>
              <a:ext uri="{FF2B5EF4-FFF2-40B4-BE49-F238E27FC236}">
                <a16:creationId xmlns:a16="http://schemas.microsoft.com/office/drawing/2014/main" id="{D1FF5AB7-60D8-4735-9375-906F4A2BBDB4}"/>
              </a:ext>
            </a:extLst>
          </p:cNvPr>
          <p:cNvSpPr>
            <a:spLocks noGrp="1"/>
          </p:cNvSpPr>
          <p:nvPr>
            <p:ph sz="quarter" idx="11" hasCustomPrompt="1"/>
          </p:nvPr>
        </p:nvSpPr>
        <p:spPr>
          <a:xfrm>
            <a:off x="1055688" y="1242000"/>
            <a:ext cx="9470217" cy="4995288"/>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sz="1000" b="0">
                <a:solidFill>
                  <a:schemeClr val="tx1"/>
                </a:solidFill>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dirty="0"/>
              <a:t>Klik op het pictogram om inhoud in te voegen</a:t>
            </a:r>
            <a:r>
              <a:rPr lang="en-GB" noProof="0" dirty="0"/>
              <a:t>
</a:t>
            </a:r>
          </a:p>
        </p:txBody>
      </p:sp>
    </p:spTree>
    <p:extLst>
      <p:ext uri="{BB962C8B-B14F-4D97-AF65-F5344CB8AC3E}">
        <p14:creationId xmlns:p14="http://schemas.microsoft.com/office/powerpoint/2010/main" val="1260419933"/>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ullets &amp;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1F2D52-2C29-4FEB-98B0-14D3A277C489}"/>
              </a:ext>
            </a:extLst>
          </p:cNvPr>
          <p:cNvGraphicFramePr>
            <a:graphicFrameLocks noChangeAspect="1"/>
          </p:cNvGraphicFramePr>
          <p:nvPr userDrawn="1">
            <p:custDataLst>
              <p:tags r:id="rId1"/>
            </p:custDataLst>
            <p:extLst>
              <p:ext uri="{D42A27DB-BD31-4B8C-83A1-F6EECF244321}">
                <p14:modId xmlns:p14="http://schemas.microsoft.com/office/powerpoint/2010/main" val="2901778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31F2D52-2C29-4FEB-98B0-14D3A277C4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3">
            <a:extLst>
              <a:ext uri="{FF2B5EF4-FFF2-40B4-BE49-F238E27FC236}">
                <a16:creationId xmlns:a16="http://schemas.microsoft.com/office/drawing/2014/main" id="{44779C74-4B25-4514-922E-08CD0BC3D96F}"/>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7" y="691200"/>
            <a:ext cx="9471025" cy="601788"/>
          </a:xfrm>
          <a:prstGeom prst="rect">
            <a:avLst/>
          </a:prstGeom>
        </p:spPr>
        <p:txBody>
          <a:bodyPr vert="horz" lIns="0"/>
          <a:lstStyle>
            <a:lvl1pPr>
              <a:defRPr sz="2800" b="1">
                <a:solidFill>
                  <a:schemeClr val="accent1"/>
                </a:solidFill>
              </a:defRPr>
            </a:lvl1pPr>
          </a:lstStyle>
          <a:p>
            <a:r>
              <a:rPr lang="nl-NL" noProof="0" dirty="0"/>
              <a:t>Titel</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242000"/>
            <a:ext cx="4572000" cy="49952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5951538" y="1242000"/>
            <a:ext cx="4574646" cy="5003800"/>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Tree>
    <p:extLst>
      <p:ext uri="{BB962C8B-B14F-4D97-AF65-F5344CB8AC3E}">
        <p14:creationId xmlns:p14="http://schemas.microsoft.com/office/powerpoint/2010/main" val="849253789"/>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guide id="6" pos="3545"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en subtitel+inhou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593AB0A-9FEC-47B7-A574-5DF575838C81}"/>
              </a:ext>
            </a:extLst>
          </p:cNvPr>
          <p:cNvGraphicFramePr>
            <a:graphicFrameLocks noChangeAspect="1"/>
          </p:cNvGraphicFramePr>
          <p:nvPr userDrawn="1">
            <p:custDataLst>
              <p:tags r:id="rId1"/>
            </p:custDataLst>
            <p:extLst>
              <p:ext uri="{D42A27DB-BD31-4B8C-83A1-F6EECF244321}">
                <p14:modId xmlns:p14="http://schemas.microsoft.com/office/powerpoint/2010/main" val="3186757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9593AB0A-9FEC-47B7-A574-5DF575838C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3">
            <a:extLst>
              <a:ext uri="{FF2B5EF4-FFF2-40B4-BE49-F238E27FC236}">
                <a16:creationId xmlns:a16="http://schemas.microsoft.com/office/drawing/2014/main" id="{63ADBBD9-FDDC-4D41-937C-A87835AF0212}"/>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8"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10" name="Tijdelijke aanduiding voor inhoud 3">
            <a:extLst>
              <a:ext uri="{FF2B5EF4-FFF2-40B4-BE49-F238E27FC236}">
                <a16:creationId xmlns:a16="http://schemas.microsoft.com/office/drawing/2014/main" id="{79D2C27E-38CF-4C6A-A4A2-F1C8B6377EFF}"/>
              </a:ext>
            </a:extLst>
          </p:cNvPr>
          <p:cNvSpPr>
            <a:spLocks noGrp="1"/>
          </p:cNvSpPr>
          <p:nvPr>
            <p:ph sz="quarter" idx="13" hasCustomPrompt="1"/>
          </p:nvPr>
        </p:nvSpPr>
        <p:spPr>
          <a:xfrm>
            <a:off x="1055688" y="1824613"/>
            <a:ext cx="9470495" cy="4412670"/>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11" name="Tijdelijke aanduiding voor tekst 7">
            <a:extLst>
              <a:ext uri="{FF2B5EF4-FFF2-40B4-BE49-F238E27FC236}">
                <a16:creationId xmlns:a16="http://schemas.microsoft.com/office/drawing/2014/main" id="{DD107660-7931-45D5-ADBE-A4DD99904F97}"/>
              </a:ext>
            </a:extLst>
          </p:cNvPr>
          <p:cNvSpPr>
            <a:spLocks noGrp="1"/>
          </p:cNvSpPr>
          <p:nvPr>
            <p:ph type="body" sz="quarter" idx="14" hasCustomPrompt="1"/>
          </p:nvPr>
        </p:nvSpPr>
        <p:spPr>
          <a:xfrm>
            <a:off x="1055688" y="1242000"/>
            <a:ext cx="9469324" cy="582613"/>
          </a:xfrm>
          <a:prstGeom prst="rect">
            <a:avLst/>
          </a:prstGeom>
        </p:spPr>
        <p:txBody>
          <a:bodyPr lIns="0"/>
          <a:lstStyle>
            <a:lvl1pPr>
              <a:defRPr lang="en-US" sz="1600" b="1" kern="1200" noProof="0" dirty="0">
                <a:solidFill>
                  <a:schemeClr val="accent2"/>
                </a:solidFill>
                <a:latin typeface="+mn-lt"/>
                <a:ea typeface="+mn-ea"/>
                <a:cs typeface="+mn-cs"/>
              </a:defRPr>
            </a:lvl1pPr>
            <a:lvl2pPr>
              <a:defRPr lang="en-US" sz="1600" b="1" kern="1200" noProof="0" dirty="0" smtClean="0">
                <a:solidFill>
                  <a:schemeClr val="accent2"/>
                </a:solidFill>
                <a:latin typeface="+mn-lt"/>
                <a:ea typeface="+mn-ea"/>
                <a:cs typeface="+mn-cs"/>
              </a:defRPr>
            </a:lvl2pPr>
            <a:lvl3pPr>
              <a:defRPr lang="en-US" sz="1200" b="0" kern="1200" noProof="0" dirty="0" smtClean="0">
                <a:solidFill>
                  <a:schemeClr val="accent6"/>
                </a:solidFill>
                <a:latin typeface="+mn-lt"/>
                <a:ea typeface="+mn-ea"/>
                <a:cs typeface="+mn-cs"/>
              </a:defRPr>
            </a:lvl3pPr>
          </a:lstStyle>
          <a:p>
            <a:pPr lvl="0"/>
            <a:r>
              <a:rPr lang="nl-NL" noProof="0" dirty="0"/>
              <a:t>Titel</a:t>
            </a:r>
          </a:p>
          <a:p>
            <a:pPr lvl="2"/>
            <a:r>
              <a:rPr lang="nl-NL" noProof="0" dirty="0"/>
              <a:t>Notatie</a:t>
            </a:r>
            <a:r>
              <a:rPr lang="en-GB" noProof="0" dirty="0"/>
              <a:t>
</a:t>
            </a:r>
          </a:p>
        </p:txBody>
      </p:sp>
    </p:spTree>
    <p:extLst>
      <p:ext uri="{BB962C8B-B14F-4D97-AF65-F5344CB8AC3E}">
        <p14:creationId xmlns:p14="http://schemas.microsoft.com/office/powerpoint/2010/main" val="2133031175"/>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mparison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7ED0D79-8B3D-4548-A083-F9074C6A5CFE}"/>
              </a:ext>
            </a:extLst>
          </p:cNvPr>
          <p:cNvGraphicFramePr>
            <a:graphicFrameLocks noChangeAspect="1"/>
          </p:cNvGraphicFramePr>
          <p:nvPr userDrawn="1">
            <p:custDataLst>
              <p:tags r:id="rId1"/>
            </p:custDataLst>
            <p:extLst>
              <p:ext uri="{D42A27DB-BD31-4B8C-83A1-F6EECF244321}">
                <p14:modId xmlns:p14="http://schemas.microsoft.com/office/powerpoint/2010/main" val="3200937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57ED0D79-8B3D-4548-A083-F9074C6A5C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3">
            <a:extLst>
              <a:ext uri="{FF2B5EF4-FFF2-40B4-BE49-F238E27FC236}">
                <a16:creationId xmlns:a16="http://schemas.microsoft.com/office/drawing/2014/main" id="{AAC7293A-94DA-4F3D-BC4D-65590A2824A2}"/>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8"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4" name="Tijdelijke aanduiding voor inhoud 3">
            <a:extLst>
              <a:ext uri="{FF2B5EF4-FFF2-40B4-BE49-F238E27FC236}">
                <a16:creationId xmlns:a16="http://schemas.microsoft.com/office/drawing/2014/main" id="{AB0FE9BA-94DF-49B1-9185-7A68146DE391}"/>
              </a:ext>
            </a:extLst>
          </p:cNvPr>
          <p:cNvSpPr>
            <a:spLocks noGrp="1"/>
          </p:cNvSpPr>
          <p:nvPr>
            <p:ph sz="quarter" idx="11" hasCustomPrompt="1"/>
          </p:nvPr>
        </p:nvSpPr>
        <p:spPr>
          <a:xfrm>
            <a:off x="5951538" y="1825200"/>
            <a:ext cx="4574646" cy="4412088"/>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8" name="Tijdelijke aanduiding voor tekst 7">
            <a:extLst>
              <a:ext uri="{FF2B5EF4-FFF2-40B4-BE49-F238E27FC236}">
                <a16:creationId xmlns:a16="http://schemas.microsoft.com/office/drawing/2014/main" id="{1DC98F32-8610-4B52-B77E-0D910EBC9E57}"/>
              </a:ext>
            </a:extLst>
          </p:cNvPr>
          <p:cNvSpPr>
            <a:spLocks noGrp="1"/>
          </p:cNvSpPr>
          <p:nvPr>
            <p:ph type="body" sz="quarter" idx="12" hasCustomPrompt="1"/>
          </p:nvPr>
        </p:nvSpPr>
        <p:spPr>
          <a:xfrm>
            <a:off x="5954184" y="1242000"/>
            <a:ext cx="4572000" cy="582613"/>
          </a:xfrm>
          <a:prstGeom prst="rect">
            <a:avLst/>
          </a:prstGeom>
        </p:spPr>
        <p:txBody>
          <a:bodyPr lIns="0"/>
          <a:lstStyle>
            <a:lvl1pPr>
              <a:defRPr sz="1600"/>
            </a:lvl1pPr>
            <a:lvl2pPr>
              <a:defRPr sz="1200" b="0">
                <a:solidFill>
                  <a:schemeClr val="accent6"/>
                </a:solidFill>
              </a:defRPr>
            </a:lvl2pPr>
          </a:lstStyle>
          <a:p>
            <a:pPr lvl="0"/>
            <a:r>
              <a:rPr lang="en-GB" noProof="0" dirty="0" err="1"/>
              <a:t>Titel</a:t>
            </a:r>
            <a:endParaRPr lang="en-GB" noProof="0" dirty="0"/>
          </a:p>
          <a:p>
            <a:pPr lvl="1"/>
            <a:r>
              <a:rPr lang="nl-NL" noProof="0" dirty="0"/>
              <a:t>Notatie</a:t>
            </a:r>
          </a:p>
        </p:txBody>
      </p:sp>
      <p:sp>
        <p:nvSpPr>
          <p:cNvPr id="10" name="Tijdelijke aanduiding voor inhoud 3">
            <a:extLst>
              <a:ext uri="{FF2B5EF4-FFF2-40B4-BE49-F238E27FC236}">
                <a16:creationId xmlns:a16="http://schemas.microsoft.com/office/drawing/2014/main" id="{79D2C27E-38CF-4C6A-A4A2-F1C8B6377EFF}"/>
              </a:ext>
            </a:extLst>
          </p:cNvPr>
          <p:cNvSpPr>
            <a:spLocks noGrp="1"/>
          </p:cNvSpPr>
          <p:nvPr>
            <p:ph sz="quarter" idx="13" hasCustomPrompt="1"/>
          </p:nvPr>
        </p:nvSpPr>
        <p:spPr>
          <a:xfrm>
            <a:off x="1056860" y="1825200"/>
            <a:ext cx="4570828" cy="4412088"/>
          </a:xfrm>
          <a:prstGeom prst="rect">
            <a:avLst/>
          </a:prstGeom>
        </p:spPr>
        <p:txBody>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nl-NL" sz="1000" b="0" kern="1200">
                <a:solidFill>
                  <a:schemeClr val="tx1"/>
                </a:solidFill>
                <a:latin typeface="+mn-lt"/>
                <a:ea typeface="+mn-ea"/>
                <a:cs typeface="+mn-cs"/>
              </a:defRPr>
            </a:lvl1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noProof="0"/>
              <a:t>Klik op het pictogram om inhoud in te voegen
</a:t>
            </a:r>
          </a:p>
        </p:txBody>
      </p:sp>
      <p:sp>
        <p:nvSpPr>
          <p:cNvPr id="11" name="Tijdelijke aanduiding voor tekst 7">
            <a:extLst>
              <a:ext uri="{FF2B5EF4-FFF2-40B4-BE49-F238E27FC236}">
                <a16:creationId xmlns:a16="http://schemas.microsoft.com/office/drawing/2014/main" id="{DD107660-7931-45D5-ADBE-A4DD99904F97}"/>
              </a:ext>
            </a:extLst>
          </p:cNvPr>
          <p:cNvSpPr>
            <a:spLocks noGrp="1"/>
          </p:cNvSpPr>
          <p:nvPr>
            <p:ph type="body" sz="quarter" idx="14" hasCustomPrompt="1"/>
          </p:nvPr>
        </p:nvSpPr>
        <p:spPr>
          <a:xfrm>
            <a:off x="1055688" y="1242000"/>
            <a:ext cx="4572000" cy="582613"/>
          </a:xfrm>
          <a:prstGeom prst="rect">
            <a:avLst/>
          </a:prstGeom>
        </p:spPr>
        <p:txBody>
          <a:bodyPr lIns="0"/>
          <a:lstStyle>
            <a:lvl1pPr>
              <a:defRPr sz="1600"/>
            </a:lvl1pPr>
            <a:lvl2pPr>
              <a:defRPr lang="nl-NL" sz="1200" b="0" kern="1200" noProof="0" dirty="0">
                <a:solidFill>
                  <a:schemeClr val="accent6"/>
                </a:solidFill>
                <a:latin typeface="+mn-lt"/>
                <a:ea typeface="+mn-ea"/>
                <a:cs typeface="+mn-cs"/>
              </a:defRPr>
            </a:lvl2pPr>
          </a:lstStyle>
          <a:p>
            <a:pPr lvl="0"/>
            <a:r>
              <a:rPr lang="nl-NL" noProof="0" dirty="0"/>
              <a:t>Titel</a:t>
            </a:r>
          </a:p>
          <a:p>
            <a:pPr marL="0" lvl="1" indent="0" algn="l" defTabSz="685800" rtl="0" eaLnBrk="1" latinLnBrk="0" hangingPunct="1">
              <a:lnSpc>
                <a:spcPct val="100000"/>
              </a:lnSpc>
              <a:spcBef>
                <a:spcPts val="0"/>
              </a:spcBef>
              <a:buFont typeface="Arial" panose="020B0604020202020204" pitchFamily="34" charset="0"/>
              <a:buNone/>
            </a:pPr>
            <a:r>
              <a:rPr lang="nl-NL" noProof="0" dirty="0"/>
              <a:t>Notatie</a:t>
            </a:r>
          </a:p>
        </p:txBody>
      </p:sp>
    </p:spTree>
    <p:extLst>
      <p:ext uri="{BB962C8B-B14F-4D97-AF65-F5344CB8AC3E}">
        <p14:creationId xmlns:p14="http://schemas.microsoft.com/office/powerpoint/2010/main" val="1628088374"/>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guide id="6" pos="3545"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mparison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22E769-A2CD-4E9E-ABA3-C5EF29E9FDB5}"/>
              </a:ext>
            </a:extLst>
          </p:cNvPr>
          <p:cNvGraphicFramePr>
            <a:graphicFrameLocks noChangeAspect="1"/>
          </p:cNvGraphicFramePr>
          <p:nvPr userDrawn="1">
            <p:custDataLst>
              <p:tags r:id="rId1"/>
            </p:custDataLst>
            <p:extLst>
              <p:ext uri="{D42A27DB-BD31-4B8C-83A1-F6EECF244321}">
                <p14:modId xmlns:p14="http://schemas.microsoft.com/office/powerpoint/2010/main" val="4100957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0D22E769-A2CD-4E9E-ABA3-C5EF29E9FD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reeform 13">
            <a:extLst>
              <a:ext uri="{FF2B5EF4-FFF2-40B4-BE49-F238E27FC236}">
                <a16:creationId xmlns:a16="http://schemas.microsoft.com/office/drawing/2014/main" id="{2CE320BC-2A01-48F9-AF9C-05CC54FB6FEE}"/>
              </a:ext>
            </a:extLst>
          </p:cNvPr>
          <p:cNvSpPr>
            <a:spLocks/>
          </p:cNvSpPr>
          <p:nvPr userDrawn="1"/>
        </p:nvSpPr>
        <p:spPr bwMode="auto">
          <a:xfrm>
            <a:off x="10525904" y="6253810"/>
            <a:ext cx="1675621" cy="604194"/>
          </a:xfrm>
          <a:custGeom>
            <a:avLst/>
            <a:gdLst>
              <a:gd name="T0" fmla="*/ 0 w 3176"/>
              <a:gd name="T1" fmla="*/ 1121 h 1121"/>
              <a:gd name="T2" fmla="*/ 821 w 3176"/>
              <a:gd name="T3" fmla="*/ 0 h 1121"/>
              <a:gd name="T4" fmla="*/ 3176 w 3176"/>
              <a:gd name="T5" fmla="*/ 0 h 1121"/>
              <a:gd name="T6" fmla="*/ 3176 w 3176"/>
              <a:gd name="T7" fmla="*/ 1121 h 1121"/>
              <a:gd name="T8" fmla="*/ 0 w 3176"/>
              <a:gd name="T9" fmla="*/ 1121 h 1121"/>
              <a:gd name="connsiteX0" fmla="*/ 0 w 10000"/>
              <a:gd name="connsiteY0" fmla="*/ 10040 h 10040"/>
              <a:gd name="connsiteX1" fmla="*/ 2292 w 10000"/>
              <a:gd name="connsiteY1" fmla="*/ 0 h 10040"/>
              <a:gd name="connsiteX2" fmla="*/ 10000 w 10000"/>
              <a:gd name="connsiteY2" fmla="*/ 40 h 10040"/>
              <a:gd name="connsiteX3" fmla="*/ 10000 w 10000"/>
              <a:gd name="connsiteY3" fmla="*/ 10040 h 10040"/>
              <a:gd name="connsiteX4" fmla="*/ 0 w 10000"/>
              <a:gd name="connsiteY4" fmla="*/ 1004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40">
                <a:moveTo>
                  <a:pt x="0" y="10040"/>
                </a:moveTo>
                <a:lnTo>
                  <a:pt x="2292" y="0"/>
                </a:lnTo>
                <a:lnTo>
                  <a:pt x="10000" y="40"/>
                </a:lnTo>
                <a:lnTo>
                  <a:pt x="10000" y="10040"/>
                </a:lnTo>
                <a:lnTo>
                  <a:pt x="0" y="10040"/>
                </a:lnTo>
                <a:close/>
              </a:path>
            </a:pathLst>
          </a:custGeom>
          <a:solidFill>
            <a:srgbClr val="EA5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noProof="0" dirty="0"/>
          </a:p>
        </p:txBody>
      </p:sp>
      <p:sp>
        <p:nvSpPr>
          <p:cNvPr id="15" name="Rechthoek 6">
            <a:extLst>
              <a:ext uri="{FF2B5EF4-FFF2-40B4-BE49-F238E27FC236}">
                <a16:creationId xmlns:a16="http://schemas.microsoft.com/office/drawing/2014/main" id="{C9CB0CF1-9C77-4A6D-AB1E-8AB6C1B6E2EC}"/>
              </a:ext>
            </a:extLst>
          </p:cNvPr>
          <p:cNvSpPr/>
          <p:nvPr userDrawn="1"/>
        </p:nvSpPr>
        <p:spPr>
          <a:xfrm>
            <a:off x="11468969" y="6418608"/>
            <a:ext cx="396262" cy="230832"/>
          </a:xfrm>
          <a:prstGeom prst="rect">
            <a:avLst/>
          </a:prstGeom>
        </p:spPr>
        <p:txBody>
          <a:bodyPr wrap="none">
            <a:spAutoFit/>
          </a:bodyPr>
          <a:lstStyle/>
          <a:p>
            <a:pPr algn="ctr" fontAlgn="auto">
              <a:spcBef>
                <a:spcPts val="0"/>
              </a:spcBef>
              <a:spcAft>
                <a:spcPts val="0"/>
              </a:spcAft>
              <a:defRPr/>
            </a:pPr>
            <a:fld id="{478F02DA-AB65-4DE3-8C32-C1DFFF12922F}" type="slidenum">
              <a:rPr lang="en-GB" sz="900" b="0" noProof="0" smtClean="0">
                <a:solidFill>
                  <a:schemeClr val="bg1"/>
                </a:solidFill>
                <a:cs typeface="Arial" pitchFamily="34" charset="0"/>
              </a:rPr>
              <a:pPr algn="ctr" fontAlgn="auto">
                <a:spcBef>
                  <a:spcPts val="0"/>
                </a:spcBef>
                <a:spcAft>
                  <a:spcPts val="0"/>
                </a:spcAft>
                <a:defRPr/>
              </a:pPr>
              <a:t>‹nr.›</a:t>
            </a:fld>
            <a:endParaRPr lang="en-GB" sz="900" b="0" noProof="0" dirty="0">
              <a:solidFill>
                <a:schemeClr val="bg1"/>
              </a:solidFill>
              <a:cs typeface="Arial" pitchFamily="34" charset="0"/>
            </a:endParaRPr>
          </a:p>
        </p:txBody>
      </p:sp>
      <p:sp>
        <p:nvSpPr>
          <p:cNvPr id="3" name="Titel 2">
            <a:extLst>
              <a:ext uri="{FF2B5EF4-FFF2-40B4-BE49-F238E27FC236}">
                <a16:creationId xmlns:a16="http://schemas.microsoft.com/office/drawing/2014/main" id="{0F2F30DB-76D5-46A6-BD2A-BEF3A18EE0FF}"/>
              </a:ext>
            </a:extLst>
          </p:cNvPr>
          <p:cNvSpPr>
            <a:spLocks noGrp="1"/>
          </p:cNvSpPr>
          <p:nvPr>
            <p:ph type="title" hasCustomPrompt="1"/>
          </p:nvPr>
        </p:nvSpPr>
        <p:spPr>
          <a:xfrm>
            <a:off x="1055688" y="691200"/>
            <a:ext cx="9600168" cy="601788"/>
          </a:xfrm>
          <a:prstGeom prst="rect">
            <a:avLst/>
          </a:prstGeom>
        </p:spPr>
        <p:txBody>
          <a:bodyPr vert="horz" lIns="0"/>
          <a:lstStyle>
            <a:lvl1pPr>
              <a:defRPr sz="2800" b="1">
                <a:solidFill>
                  <a:schemeClr val="accent1"/>
                </a:solidFill>
              </a:defRPr>
            </a:lvl1pPr>
          </a:lstStyle>
          <a:p>
            <a:r>
              <a:rPr lang="nl-NL" noProof="0" dirty="0"/>
              <a:t>Titel</a:t>
            </a:r>
            <a:r>
              <a:rPr lang="en-GB" noProof="0" dirty="0"/>
              <a:t>
</a:t>
            </a:r>
          </a:p>
        </p:txBody>
      </p:sp>
      <p:sp>
        <p:nvSpPr>
          <p:cNvPr id="6" name="Tijdelijke aanduiding voor tekst 5">
            <a:extLst>
              <a:ext uri="{FF2B5EF4-FFF2-40B4-BE49-F238E27FC236}">
                <a16:creationId xmlns:a16="http://schemas.microsoft.com/office/drawing/2014/main" id="{E2498A50-28C7-4D9F-BB28-DE16E6C5A461}"/>
              </a:ext>
            </a:extLst>
          </p:cNvPr>
          <p:cNvSpPr>
            <a:spLocks noGrp="1"/>
          </p:cNvSpPr>
          <p:nvPr>
            <p:ph type="body" sz="quarter" idx="10" hasCustomPrompt="1"/>
          </p:nvPr>
        </p:nvSpPr>
        <p:spPr>
          <a:xfrm>
            <a:off x="1055688" y="1825199"/>
            <a:ext cx="4572000" cy="4412087"/>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24" name="Tijdelijke aanduiding voor tekst 7">
            <a:extLst>
              <a:ext uri="{FF2B5EF4-FFF2-40B4-BE49-F238E27FC236}">
                <a16:creationId xmlns:a16="http://schemas.microsoft.com/office/drawing/2014/main" id="{84CC5CEE-15A7-41E4-A0F8-278C542585AF}"/>
              </a:ext>
            </a:extLst>
          </p:cNvPr>
          <p:cNvSpPr>
            <a:spLocks noGrp="1"/>
          </p:cNvSpPr>
          <p:nvPr>
            <p:ph type="body" sz="quarter" idx="24" hasCustomPrompt="1"/>
          </p:nvPr>
        </p:nvSpPr>
        <p:spPr>
          <a:xfrm>
            <a:off x="1055688" y="1242000"/>
            <a:ext cx="4572001"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
        <p:nvSpPr>
          <p:cNvPr id="25" name="Tijdelijke aanduiding voor tekst 5">
            <a:extLst>
              <a:ext uri="{FF2B5EF4-FFF2-40B4-BE49-F238E27FC236}">
                <a16:creationId xmlns:a16="http://schemas.microsoft.com/office/drawing/2014/main" id="{63107E54-C3E5-403B-B65F-53F727038DF8}"/>
              </a:ext>
            </a:extLst>
          </p:cNvPr>
          <p:cNvSpPr>
            <a:spLocks noGrp="1"/>
          </p:cNvSpPr>
          <p:nvPr>
            <p:ph type="body" sz="quarter" idx="25" hasCustomPrompt="1"/>
          </p:nvPr>
        </p:nvSpPr>
        <p:spPr>
          <a:xfrm>
            <a:off x="5954182" y="1825200"/>
            <a:ext cx="4572003" cy="4412088"/>
          </a:xfrm>
          <a:prstGeom prst="rect">
            <a:avLst/>
          </a:prstGeom>
        </p:spPr>
        <p:txBody>
          <a:bodyPr lIns="0"/>
          <a:lstStyle>
            <a:lvl1pPr marL="171450" indent="-171450">
              <a:spcAft>
                <a:spcPts val="600"/>
              </a:spcAft>
              <a:buClr>
                <a:schemeClr val="accent2"/>
              </a:buClr>
              <a:buFont typeface="Arial" panose="020B0604020202020204" pitchFamily="34" charset="0"/>
              <a:buChar char="•"/>
              <a:defRPr sz="1600" b="0">
                <a:solidFill>
                  <a:schemeClr val="tx1"/>
                </a:solidFill>
              </a:defRPr>
            </a:lvl1pPr>
            <a:lvl2pPr marL="449263" indent="-171450">
              <a:spcAft>
                <a:spcPts val="600"/>
              </a:spcAft>
              <a:buClr>
                <a:schemeClr val="accent5"/>
              </a:buClr>
              <a:buFont typeface="Arial" panose="020B0604020202020204" pitchFamily="34" charset="0"/>
              <a:buChar char="̶"/>
              <a:defRPr sz="1400" b="0">
                <a:solidFill>
                  <a:schemeClr val="tx1"/>
                </a:solidFill>
              </a:defRPr>
            </a:lvl2pPr>
            <a:lvl3pPr marL="630238" indent="-171450">
              <a:spcAft>
                <a:spcPts val="600"/>
              </a:spcAft>
              <a:buClr>
                <a:schemeClr val="accent1"/>
              </a:buClr>
              <a:buFont typeface="Arial" panose="020B0604020202020204" pitchFamily="34" charset="0"/>
              <a:buChar char="•"/>
              <a:defRPr sz="1200" b="0">
                <a:solidFill>
                  <a:schemeClr val="tx1"/>
                </a:solidFill>
              </a:defRPr>
            </a:lvl3pPr>
            <a:lvl4pPr marL="896938" indent="-171450">
              <a:spcAft>
                <a:spcPts val="600"/>
              </a:spcAft>
              <a:buClr>
                <a:schemeClr val="accent5"/>
              </a:buClr>
              <a:buFont typeface="Arial" panose="020B0604020202020204" pitchFamily="34" charset="0"/>
              <a:buChar char="̶"/>
              <a:defRPr sz="1200" b="0">
                <a:solidFill>
                  <a:schemeClr val="tx1"/>
                </a:solidFill>
              </a:defRPr>
            </a:lvl4pPr>
            <a:lvl5pPr marL="1077913" indent="-171450">
              <a:spcAft>
                <a:spcPts val="600"/>
              </a:spcAft>
              <a:buClr>
                <a:schemeClr val="accent2"/>
              </a:buClr>
              <a:buFont typeface="Arial" panose="020B0604020202020204" pitchFamily="34" charset="0"/>
              <a:buChar char="•"/>
              <a:defRPr sz="1200" b="0">
                <a:solidFill>
                  <a:schemeClr val="tx1"/>
                </a:solidFill>
              </a:defRPr>
            </a:lvl5pPr>
          </a:lstStyle>
          <a:p>
            <a:pPr lvl="0"/>
            <a:r>
              <a:rPr lang="nl-NL" noProof="0" dirty="0"/>
              <a:t>Klik om tekst toe te voeg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26" name="Tijdelijke aanduiding voor tekst 7">
            <a:extLst>
              <a:ext uri="{FF2B5EF4-FFF2-40B4-BE49-F238E27FC236}">
                <a16:creationId xmlns:a16="http://schemas.microsoft.com/office/drawing/2014/main" id="{01415FD0-867D-4E84-AC91-79B28EE65678}"/>
              </a:ext>
            </a:extLst>
          </p:cNvPr>
          <p:cNvSpPr>
            <a:spLocks noGrp="1"/>
          </p:cNvSpPr>
          <p:nvPr>
            <p:ph type="body" sz="quarter" idx="12" hasCustomPrompt="1"/>
          </p:nvPr>
        </p:nvSpPr>
        <p:spPr>
          <a:xfrm>
            <a:off x="5954183" y="1242000"/>
            <a:ext cx="4572001" cy="582613"/>
          </a:xfrm>
          <a:prstGeom prst="rect">
            <a:avLst/>
          </a:prstGeom>
        </p:spPr>
        <p:txBody>
          <a:bodyPr lIns="0"/>
          <a:lstStyle>
            <a:lvl1pPr>
              <a:defRPr sz="1600"/>
            </a:lvl1pPr>
            <a:lvl2pPr>
              <a:defRPr sz="1200" b="0">
                <a:solidFill>
                  <a:schemeClr val="accent6"/>
                </a:solidFill>
              </a:defRPr>
            </a:lvl2pPr>
          </a:lstStyle>
          <a:p>
            <a:pPr lvl="0"/>
            <a:r>
              <a:rPr lang="nl-NL" noProof="0" dirty="0"/>
              <a:t>Titel</a:t>
            </a:r>
          </a:p>
          <a:p>
            <a:pPr lvl="1"/>
            <a:r>
              <a:rPr lang="nl-NL" noProof="0" dirty="0"/>
              <a:t>Notatie</a:t>
            </a:r>
          </a:p>
        </p:txBody>
      </p:sp>
    </p:spTree>
    <p:extLst>
      <p:ext uri="{BB962C8B-B14F-4D97-AF65-F5344CB8AC3E}">
        <p14:creationId xmlns:p14="http://schemas.microsoft.com/office/powerpoint/2010/main" val="610790346"/>
      </p:ext>
    </p:extLst>
  </p:cSld>
  <p:clrMapOvr>
    <a:masterClrMapping/>
  </p:clrMapOvr>
  <p:extLst>
    <p:ext uri="{DCECCB84-F9BA-43D5-87BE-67443E8EF086}">
      <p15:sldGuideLst xmlns:p15="http://schemas.microsoft.com/office/powerpoint/2012/main">
        <p15:guide id="1" pos="665" userDrawn="1">
          <p15:clr>
            <a:srgbClr val="FBAE40"/>
          </p15:clr>
        </p15:guide>
        <p15:guide id="2" orient="horz" pos="777" userDrawn="1">
          <p15:clr>
            <a:srgbClr val="FBAE40"/>
          </p15:clr>
        </p15:guide>
        <p15:guide id="3" pos="6631" userDrawn="1">
          <p15:clr>
            <a:srgbClr val="FBAE40"/>
          </p15:clr>
        </p15:guide>
        <p15:guide id="4" orient="horz" pos="3929" userDrawn="1">
          <p15:clr>
            <a:srgbClr val="FBAE40"/>
          </p15:clr>
        </p15:guide>
        <p15:guide id="5" pos="3840" userDrawn="1">
          <p15:clr>
            <a:srgbClr val="FBAE40"/>
          </p15:clr>
        </p15:guide>
        <p15:guide id="6" pos="3545"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3325BB-A370-45A4-8116-720CAFD297B4}"/>
              </a:ext>
            </a:extLst>
          </p:cNvPr>
          <p:cNvGraphicFramePr>
            <a:graphicFrameLocks noChangeAspect="1"/>
          </p:cNvGraphicFramePr>
          <p:nvPr userDrawn="1">
            <p:custDataLst>
              <p:tags r:id="rId30"/>
            </p:custDataLst>
            <p:extLst>
              <p:ext uri="{D42A27DB-BD31-4B8C-83A1-F6EECF244321}">
                <p14:modId xmlns:p14="http://schemas.microsoft.com/office/powerpoint/2010/main" val="1279413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306" imgH="306" progId="TCLayout.ActiveDocument.1">
                  <p:embed/>
                </p:oleObj>
              </mc:Choice>
              <mc:Fallback>
                <p:oleObj name="think-cell Slide" r:id="rId31" imgW="306" imgH="306" progId="TCLayout.ActiveDocument.1">
                  <p:embed/>
                  <p:pic>
                    <p:nvPicPr>
                      <p:cNvPr id="2" name="Object 1" hidden="1">
                        <a:extLst>
                          <a:ext uri="{FF2B5EF4-FFF2-40B4-BE49-F238E27FC236}">
                            <a16:creationId xmlns:a16="http://schemas.microsoft.com/office/drawing/2014/main" id="{9C3325BB-A370-45A4-8116-720CAFD297B4}"/>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03E817B6-CAEB-4F58-A0D5-6014A595C65D}"/>
              </a:ext>
            </a:extLst>
          </p:cNvPr>
          <p:cNvSpPr txBox="1"/>
          <p:nvPr userDrawn="1"/>
        </p:nvSpPr>
        <p:spPr>
          <a:xfrm>
            <a:off x="173284" y="6184856"/>
            <a:ext cx="1769816" cy="369332"/>
          </a:xfrm>
          <a:prstGeom prst="rect">
            <a:avLst/>
          </a:prstGeom>
          <a:noFill/>
        </p:spPr>
        <p:txBody>
          <a:bodyPr wrap="square" lIns="0" rIns="0" rtlCol="0">
            <a:spAutoFit/>
          </a:bodyPr>
          <a:lstStyle/>
          <a:p>
            <a:pPr marL="0" indent="0" algn="l" defTabSz="685800" rtl="0" eaLnBrk="1" latinLnBrk="0" hangingPunct="1">
              <a:lnSpc>
                <a:spcPct val="100000"/>
              </a:lnSpc>
              <a:spcBef>
                <a:spcPts val="0"/>
              </a:spcBef>
              <a:buFont typeface="Arial" panose="020B0604020202020204" pitchFamily="34" charset="0"/>
              <a:buNone/>
            </a:pPr>
            <a:r>
              <a:rPr lang="nl-NL" sz="600" b="1" kern="1200" noProof="0" dirty="0">
                <a:solidFill>
                  <a:schemeClr val="accent2"/>
                </a:solidFill>
                <a:latin typeface="+mn-lt"/>
                <a:ea typeface="+mn-ea"/>
                <a:cs typeface="+mn-cs"/>
              </a:rPr>
              <a:t>Janneke Bosma</a:t>
            </a:r>
          </a:p>
          <a:p>
            <a:pPr marL="0" indent="0" algn="l" defTabSz="685800" rtl="0" eaLnBrk="1" latinLnBrk="0" hangingPunct="1">
              <a:lnSpc>
                <a:spcPct val="100000"/>
              </a:lnSpc>
              <a:spcBef>
                <a:spcPts val="0"/>
              </a:spcBef>
              <a:buFont typeface="Arial" panose="020B0604020202020204" pitchFamily="34" charset="0"/>
              <a:buNone/>
            </a:pPr>
            <a:r>
              <a:rPr lang="nl-NL" sz="600" b="1" kern="1200" noProof="0" dirty="0">
                <a:solidFill>
                  <a:schemeClr val="accent2"/>
                </a:solidFill>
                <a:latin typeface="+mn-lt"/>
                <a:ea typeface="+mn-ea"/>
                <a:cs typeface="+mn-cs"/>
              </a:rPr>
              <a:t>Material </a:t>
            </a:r>
            <a:r>
              <a:rPr lang="nl-NL" sz="600" b="1" kern="1200" noProof="0" dirty="0" err="1">
                <a:solidFill>
                  <a:schemeClr val="accent2"/>
                </a:solidFill>
                <a:latin typeface="+mn-lt"/>
                <a:ea typeface="+mn-ea"/>
                <a:cs typeface="+mn-cs"/>
              </a:rPr>
              <a:t>passports</a:t>
            </a:r>
            <a:r>
              <a:rPr lang="nl-NL" sz="600" b="1" kern="1200" noProof="0" dirty="0">
                <a:solidFill>
                  <a:schemeClr val="accent2"/>
                </a:solidFill>
                <a:latin typeface="+mn-lt"/>
                <a:ea typeface="+mn-ea"/>
                <a:cs typeface="+mn-cs"/>
              </a:rPr>
              <a:t> and digital product </a:t>
            </a:r>
            <a:r>
              <a:rPr lang="nl-NL" sz="600" b="1" kern="1200" noProof="0" dirty="0" err="1">
                <a:solidFill>
                  <a:schemeClr val="accent2"/>
                </a:solidFill>
                <a:latin typeface="+mn-lt"/>
                <a:ea typeface="+mn-ea"/>
                <a:cs typeface="+mn-cs"/>
              </a:rPr>
              <a:t>passports</a:t>
            </a:r>
            <a:r>
              <a:rPr lang="nl-NL" sz="600" b="1" kern="1200" noProof="0" dirty="0">
                <a:solidFill>
                  <a:schemeClr val="accent2"/>
                </a:solidFill>
                <a:latin typeface="+mn-lt"/>
                <a:ea typeface="+mn-ea"/>
                <a:cs typeface="+mn-cs"/>
              </a:rPr>
              <a:t>
</a:t>
            </a:r>
            <a:endParaRPr lang="en-GB" sz="600" b="1" kern="1200" noProof="0" dirty="0">
              <a:solidFill>
                <a:schemeClr val="accent2"/>
              </a:solidFill>
              <a:latin typeface="+mn-lt"/>
              <a:ea typeface="+mn-ea"/>
              <a:cs typeface="+mn-cs"/>
            </a:endParaRPr>
          </a:p>
        </p:txBody>
      </p:sp>
    </p:spTree>
    <p:extLst>
      <p:ext uri="{BB962C8B-B14F-4D97-AF65-F5344CB8AC3E}">
        <p14:creationId xmlns:p14="http://schemas.microsoft.com/office/powerpoint/2010/main" val="2482416604"/>
      </p:ext>
    </p:extLst>
  </p:cSld>
  <p:clrMap bg1="lt1" tx1="dk1" bg2="lt2" tx2="dk2" accent1="accent1" accent2="accent2" accent3="accent3" accent4="accent4" accent5="accent5" accent6="accent6" hlink="hlink" folHlink="folHlink"/>
  <p:sldLayoutIdLst>
    <p:sldLayoutId id="2147483689" r:id="rId1"/>
    <p:sldLayoutId id="2147483651" r:id="rId2"/>
    <p:sldLayoutId id="2147483684" r:id="rId3"/>
    <p:sldLayoutId id="2147483688" r:id="rId4"/>
    <p:sldLayoutId id="2147483668" r:id="rId5"/>
    <p:sldLayoutId id="2147483669" r:id="rId6"/>
    <p:sldLayoutId id="2147483671" r:id="rId7"/>
    <p:sldLayoutId id="2147483683" r:id="rId8"/>
    <p:sldLayoutId id="2147483686" r:id="rId9"/>
    <p:sldLayoutId id="2147483687" r:id="rId10"/>
    <p:sldLayoutId id="2147483650" r:id="rId11"/>
    <p:sldLayoutId id="2147483654" r:id="rId12"/>
    <p:sldLayoutId id="2147483679" r:id="rId13"/>
    <p:sldLayoutId id="2147483676" r:id="rId14"/>
    <p:sldLayoutId id="2147483677" r:id="rId15"/>
    <p:sldLayoutId id="2147483673" r:id="rId16"/>
    <p:sldLayoutId id="2147483682" r:id="rId17"/>
    <p:sldLayoutId id="2147483674" r:id="rId18"/>
    <p:sldLayoutId id="2147483670" r:id="rId19"/>
    <p:sldLayoutId id="2147483675" r:id="rId20"/>
    <p:sldLayoutId id="2147483678" r:id="rId21"/>
    <p:sldLayoutId id="2147483649" r:id="rId22"/>
    <p:sldLayoutId id="2147483681" r:id="rId23"/>
    <p:sldLayoutId id="2147483661" r:id="rId24"/>
    <p:sldLayoutId id="2147483680" r:id="rId25"/>
    <p:sldLayoutId id="2147483685" r:id="rId26"/>
    <p:sldLayoutId id="2147483691" r:id="rId27"/>
    <p:sldLayoutId id="2147483693" r:id="rId28"/>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0" indent="0" algn="l" defTabSz="685800" rtl="0" eaLnBrk="1" latinLnBrk="0" hangingPunct="1">
        <a:lnSpc>
          <a:spcPct val="100000"/>
        </a:lnSpc>
        <a:spcBef>
          <a:spcPts val="0"/>
        </a:spcBef>
        <a:buFont typeface="Arial" panose="020B0604020202020204" pitchFamily="34" charset="0"/>
        <a:buNone/>
        <a:defRPr lang="en-US" sz="600" b="1" kern="1200" dirty="0" smtClean="0">
          <a:solidFill>
            <a:schemeClr val="accent2"/>
          </a:solidFill>
          <a:latin typeface="+mn-lt"/>
          <a:ea typeface="+mn-ea"/>
          <a:cs typeface="+mn-cs"/>
        </a:defRPr>
      </a:lvl1pPr>
      <a:lvl2pPr marL="0" indent="0" algn="l" defTabSz="685800" rtl="0" eaLnBrk="1" latinLnBrk="0" hangingPunct="1">
        <a:lnSpc>
          <a:spcPct val="100000"/>
        </a:lnSpc>
        <a:spcBef>
          <a:spcPts val="0"/>
        </a:spcBef>
        <a:buFont typeface="Arial" panose="020B0604020202020204" pitchFamily="34" charset="0"/>
        <a:buNone/>
        <a:defRPr lang="en-US" sz="600" b="1" kern="1200" dirty="0" smtClean="0">
          <a:solidFill>
            <a:schemeClr val="accent2"/>
          </a:solidFill>
          <a:latin typeface="+mn-lt"/>
          <a:ea typeface="+mn-ea"/>
          <a:cs typeface="+mn-cs"/>
        </a:defRPr>
      </a:lvl2pPr>
      <a:lvl3pPr marL="0" indent="0" algn="l" defTabSz="685800" rtl="0" eaLnBrk="1" latinLnBrk="0" hangingPunct="1">
        <a:lnSpc>
          <a:spcPct val="100000"/>
        </a:lnSpc>
        <a:spcBef>
          <a:spcPts val="0"/>
        </a:spcBef>
        <a:buFont typeface="Arial" panose="020B0604020202020204" pitchFamily="34" charset="0"/>
        <a:buNone/>
        <a:defRPr lang="en-US" sz="600" b="1" kern="1200" dirty="0" smtClean="0">
          <a:solidFill>
            <a:schemeClr val="accent2"/>
          </a:solidFill>
          <a:latin typeface="+mn-lt"/>
          <a:ea typeface="+mn-ea"/>
          <a:cs typeface="+mn-cs"/>
        </a:defRPr>
      </a:lvl3pPr>
      <a:lvl4pPr marL="0" indent="0" algn="l" defTabSz="685800" rtl="0" eaLnBrk="1" latinLnBrk="0" hangingPunct="1">
        <a:lnSpc>
          <a:spcPct val="100000"/>
        </a:lnSpc>
        <a:spcBef>
          <a:spcPts val="0"/>
        </a:spcBef>
        <a:buFont typeface="Arial" panose="020B0604020202020204" pitchFamily="34" charset="0"/>
        <a:buNone/>
        <a:defRPr lang="en-US" sz="600" b="1" kern="1200" dirty="0" smtClean="0">
          <a:solidFill>
            <a:schemeClr val="accent2"/>
          </a:solidFill>
          <a:latin typeface="+mn-lt"/>
          <a:ea typeface="+mn-ea"/>
          <a:cs typeface="+mn-cs"/>
        </a:defRPr>
      </a:lvl4pPr>
      <a:lvl5pPr marL="0" indent="0" algn="l" defTabSz="685800" rtl="0" eaLnBrk="1" latinLnBrk="0" hangingPunct="1">
        <a:lnSpc>
          <a:spcPct val="100000"/>
        </a:lnSpc>
        <a:spcBef>
          <a:spcPts val="0"/>
        </a:spcBef>
        <a:buFont typeface="Arial" panose="020B0604020202020204" pitchFamily="34" charset="0"/>
        <a:buNone/>
        <a:defRPr lang="en-GB" sz="600" b="1" kern="1200" dirty="0">
          <a:solidFill>
            <a:schemeClr val="accent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630" userDrawn="1">
          <p15:clr>
            <a:srgbClr val="F26B43"/>
          </p15:clr>
        </p15:guide>
        <p15:guide id="2" pos="3636" userDrawn="1">
          <p15:clr>
            <a:srgbClr val="F26B43"/>
          </p15:clr>
        </p15:guide>
        <p15:guide id="3" pos="374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0.xml"/><Relationship Id="rId6" Type="http://schemas.openxmlformats.org/officeDocument/2006/relationships/image" Target="../media/image3.jp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microsoft.com/office/2007/relationships/hdphoto" Target="../media/hdphoto1.wdp"/></Relationships>
</file>

<file path=ppt/slides/_rels/slide4.xml.rels><?xml version="1.0" encoding="UTF-8" standalone="yes"?>
<Relationships xmlns="http://schemas.openxmlformats.org/package/2006/relationships"><Relationship Id="rId2" Type="http://schemas.openxmlformats.org/officeDocument/2006/relationships/hyperlink" Target="https://www.youtube.com/watch?v=4x_xzT5eF5Q" TargetMode="Externa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hyperlink" Target="http://example.org/" TargetMode="External"/><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image" Target="../media/image6.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D0F40A7-290D-4B44-85DF-DDCFAD898D28}"/>
              </a:ext>
            </a:extLst>
          </p:cNvPr>
          <p:cNvGraphicFramePr>
            <a:graphicFrameLocks noChangeAspect="1"/>
          </p:cNvGraphicFramePr>
          <p:nvPr>
            <p:custDataLst>
              <p:tags r:id="rId1"/>
            </p:custDataLst>
            <p:extLst>
              <p:ext uri="{D42A27DB-BD31-4B8C-83A1-F6EECF244321}">
                <p14:modId xmlns:p14="http://schemas.microsoft.com/office/powerpoint/2010/main" val="3809351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ct 5" hidden="1">
                        <a:extLst>
                          <a:ext uri="{FF2B5EF4-FFF2-40B4-BE49-F238E27FC236}">
                            <a16:creationId xmlns:a16="http://schemas.microsoft.com/office/drawing/2014/main" id="{AD0F40A7-290D-4B44-85DF-DDCFAD898D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Tijdelijke aanduiding voor afbeelding 6" descr="Afbeelding met lucht, buiten&#10;&#10;Automatisch gegenereerde beschrijving">
            <a:extLst>
              <a:ext uri="{FF2B5EF4-FFF2-40B4-BE49-F238E27FC236}">
                <a16:creationId xmlns:a16="http://schemas.microsoft.com/office/drawing/2014/main" id="{9C77DBFA-B09A-4E87-AFD3-B33C699A8F6F}"/>
              </a:ext>
            </a:extLst>
          </p:cNvPr>
          <p:cNvPicPr>
            <a:picLocks noGrp="1" noChangeAspect="1"/>
          </p:cNvPicPr>
          <p:nvPr>
            <p:ph type="pic" sz="quarter" idx="10"/>
          </p:nvPr>
        </p:nvPicPr>
        <p:blipFill>
          <a:blip r:embed="rId6">
            <a:extLst>
              <a:ext uri="{28A0092B-C50C-407E-A947-70E740481C1C}">
                <a14:useLocalDpi xmlns:a14="http://schemas.microsoft.com/office/drawing/2010/main" val="0"/>
              </a:ext>
            </a:extLst>
          </a:blip>
          <a:srcRect/>
          <a:stretch>
            <a:fillRect/>
          </a:stretch>
        </p:blipFill>
        <p:spPr>
          <a:xfrm>
            <a:off x="0" y="0"/>
            <a:ext cx="12192000" cy="6858000"/>
          </a:xfrm>
        </p:spPr>
      </p:pic>
      <p:sp>
        <p:nvSpPr>
          <p:cNvPr id="7" name="Vrije vorm: vorm 6">
            <a:extLst>
              <a:ext uri="{FF2B5EF4-FFF2-40B4-BE49-F238E27FC236}">
                <a16:creationId xmlns:a16="http://schemas.microsoft.com/office/drawing/2014/main" id="{15BEB678-0D6A-4E4C-88A8-36B07218DB38}"/>
              </a:ext>
            </a:extLst>
          </p:cNvPr>
          <p:cNvSpPr/>
          <p:nvPr/>
        </p:nvSpPr>
        <p:spPr>
          <a:xfrm>
            <a:off x="7377811" y="0"/>
            <a:ext cx="4814189" cy="6867524"/>
          </a:xfrm>
          <a:custGeom>
            <a:avLst/>
            <a:gdLst>
              <a:gd name="connsiteX0" fmla="*/ 3855339 w 4814189"/>
              <a:gd name="connsiteY0" fmla="*/ 657226 h 6867524"/>
              <a:gd name="connsiteX1" fmla="*/ 3855339 w 4814189"/>
              <a:gd name="connsiteY1" fmla="*/ 700315 h 6867524"/>
              <a:gd name="connsiteX2" fmla="*/ 3837559 w 4814189"/>
              <a:gd name="connsiteY2" fmla="*/ 704851 h 6867524"/>
              <a:gd name="connsiteX3" fmla="*/ 3810889 w 4814189"/>
              <a:gd name="connsiteY3" fmla="*/ 682173 h 6867524"/>
              <a:gd name="connsiteX4" fmla="*/ 3855339 w 4814189"/>
              <a:gd name="connsiteY4" fmla="*/ 657226 h 6867524"/>
              <a:gd name="connsiteX5" fmla="*/ 3656394 w 4814189"/>
              <a:gd name="connsiteY5" fmla="*/ 606608 h 6867524"/>
              <a:gd name="connsiteX6" fmla="*/ 3688652 w 4814189"/>
              <a:gd name="connsiteY6" fmla="*/ 655963 h 6867524"/>
              <a:gd name="connsiteX7" fmla="*/ 3645922 w 4814189"/>
              <a:gd name="connsiteY7" fmla="*/ 705143 h 6867524"/>
              <a:gd name="connsiteX8" fmla="*/ 3634677 w 4814189"/>
              <a:gd name="connsiteY8" fmla="*/ 702908 h 6867524"/>
              <a:gd name="connsiteX9" fmla="*/ 3634677 w 4814189"/>
              <a:gd name="connsiteY9" fmla="*/ 609018 h 6867524"/>
              <a:gd name="connsiteX10" fmla="*/ 3650420 w 4814189"/>
              <a:gd name="connsiteY10" fmla="*/ 606783 h 6867524"/>
              <a:gd name="connsiteX11" fmla="*/ 3656394 w 4814189"/>
              <a:gd name="connsiteY11" fmla="*/ 606608 h 6867524"/>
              <a:gd name="connsiteX12" fmla="*/ 3848394 w 4814189"/>
              <a:gd name="connsiteY12" fmla="*/ 574675 h 6867524"/>
              <a:gd name="connsiteX13" fmla="*/ 3780727 w 4814189"/>
              <a:gd name="connsiteY13" fmla="*/ 585723 h 6867524"/>
              <a:gd name="connsiteX14" fmla="*/ 3780727 w 4814189"/>
              <a:gd name="connsiteY14" fmla="*/ 610029 h 6867524"/>
              <a:gd name="connsiteX15" fmla="*/ 3826566 w 4814189"/>
              <a:gd name="connsiteY15" fmla="*/ 605610 h 6867524"/>
              <a:gd name="connsiteX16" fmla="*/ 3857125 w 4814189"/>
              <a:gd name="connsiteY16" fmla="*/ 621077 h 6867524"/>
              <a:gd name="connsiteX17" fmla="*/ 3857125 w 4814189"/>
              <a:gd name="connsiteY17" fmla="*/ 638755 h 6867524"/>
              <a:gd name="connsiteX18" fmla="*/ 3767630 w 4814189"/>
              <a:gd name="connsiteY18" fmla="*/ 689576 h 6867524"/>
              <a:gd name="connsiteX19" fmla="*/ 3815651 w 4814189"/>
              <a:gd name="connsiteY19" fmla="*/ 738188 h 6867524"/>
              <a:gd name="connsiteX20" fmla="*/ 3859308 w 4814189"/>
              <a:gd name="connsiteY20" fmla="*/ 724930 h 6867524"/>
              <a:gd name="connsiteX21" fmla="*/ 3859308 w 4814189"/>
              <a:gd name="connsiteY21" fmla="*/ 735978 h 6867524"/>
              <a:gd name="connsiteX22" fmla="*/ 3902964 w 4814189"/>
              <a:gd name="connsiteY22" fmla="*/ 735978 h 6867524"/>
              <a:gd name="connsiteX23" fmla="*/ 3902964 w 4814189"/>
              <a:gd name="connsiteY23" fmla="*/ 629916 h 6867524"/>
              <a:gd name="connsiteX24" fmla="*/ 3848394 w 4814189"/>
              <a:gd name="connsiteY24" fmla="*/ 574675 h 6867524"/>
              <a:gd name="connsiteX25" fmla="*/ 4041062 w 4814189"/>
              <a:gd name="connsiteY25" fmla="*/ 573088 h 6867524"/>
              <a:gd name="connsiteX26" fmla="*/ 3991063 w 4814189"/>
              <a:gd name="connsiteY26" fmla="*/ 586185 h 6867524"/>
              <a:gd name="connsiteX27" fmla="*/ 3991063 w 4814189"/>
              <a:gd name="connsiteY27" fmla="*/ 575271 h 6867524"/>
              <a:gd name="connsiteX28" fmla="*/ 3941064 w 4814189"/>
              <a:gd name="connsiteY28" fmla="*/ 575271 h 6867524"/>
              <a:gd name="connsiteX29" fmla="*/ 3941064 w 4814189"/>
              <a:gd name="connsiteY29" fmla="*/ 730250 h 6867524"/>
              <a:gd name="connsiteX30" fmla="*/ 3991063 w 4814189"/>
              <a:gd name="connsiteY30" fmla="*/ 730250 h 6867524"/>
              <a:gd name="connsiteX31" fmla="*/ 3991063 w 4814189"/>
              <a:gd name="connsiteY31" fmla="*/ 610196 h 6867524"/>
              <a:gd name="connsiteX32" fmla="*/ 4012802 w 4814189"/>
              <a:gd name="connsiteY32" fmla="*/ 608013 h 6867524"/>
              <a:gd name="connsiteX33" fmla="*/ 4036714 w 4814189"/>
              <a:gd name="connsiteY33" fmla="*/ 623293 h 6867524"/>
              <a:gd name="connsiteX34" fmla="*/ 4036714 w 4814189"/>
              <a:gd name="connsiteY34" fmla="*/ 730250 h 6867524"/>
              <a:gd name="connsiteX35" fmla="*/ 4086714 w 4814189"/>
              <a:gd name="connsiteY35" fmla="*/ 730250 h 6867524"/>
              <a:gd name="connsiteX36" fmla="*/ 4086714 w 4814189"/>
              <a:gd name="connsiteY36" fmla="*/ 621110 h 6867524"/>
              <a:gd name="connsiteX37" fmla="*/ 4084540 w 4814189"/>
              <a:gd name="connsiteY37" fmla="*/ 610196 h 6867524"/>
              <a:gd name="connsiteX38" fmla="*/ 4108452 w 4814189"/>
              <a:gd name="connsiteY38" fmla="*/ 608013 h 6867524"/>
              <a:gd name="connsiteX39" fmla="*/ 4132365 w 4814189"/>
              <a:gd name="connsiteY39" fmla="*/ 623293 h 6867524"/>
              <a:gd name="connsiteX40" fmla="*/ 4132365 w 4814189"/>
              <a:gd name="connsiteY40" fmla="*/ 730250 h 6867524"/>
              <a:gd name="connsiteX41" fmla="*/ 4182364 w 4814189"/>
              <a:gd name="connsiteY41" fmla="*/ 730250 h 6867524"/>
              <a:gd name="connsiteX42" fmla="*/ 4182364 w 4814189"/>
              <a:gd name="connsiteY42" fmla="*/ 621110 h 6867524"/>
              <a:gd name="connsiteX43" fmla="*/ 4136713 w 4814189"/>
              <a:gd name="connsiteY43" fmla="*/ 573088 h 6867524"/>
              <a:gd name="connsiteX44" fmla="*/ 4073670 w 4814189"/>
              <a:gd name="connsiteY44" fmla="*/ 586185 h 6867524"/>
              <a:gd name="connsiteX45" fmla="*/ 4041062 w 4814189"/>
              <a:gd name="connsiteY45" fmla="*/ 573088 h 6867524"/>
              <a:gd name="connsiteX46" fmla="*/ 3588639 w 4814189"/>
              <a:gd name="connsiteY46" fmla="*/ 500063 h 6867524"/>
              <a:gd name="connsiteX47" fmla="*/ 3588639 w 4814189"/>
              <a:gd name="connsiteY47" fmla="*/ 727164 h 6867524"/>
              <a:gd name="connsiteX48" fmla="*/ 3652434 w 4814189"/>
              <a:gd name="connsiteY48" fmla="*/ 738188 h 6867524"/>
              <a:gd name="connsiteX49" fmla="*/ 3742627 w 4814189"/>
              <a:gd name="connsiteY49" fmla="*/ 649994 h 6867524"/>
              <a:gd name="connsiteX50" fmla="*/ 3681032 w 4814189"/>
              <a:gd name="connsiteY50" fmla="*/ 575028 h 6867524"/>
              <a:gd name="connsiteX51" fmla="*/ 3639235 w 4814189"/>
              <a:gd name="connsiteY51" fmla="*/ 588258 h 6867524"/>
              <a:gd name="connsiteX52" fmla="*/ 3639235 w 4814189"/>
              <a:gd name="connsiteY52" fmla="*/ 500063 h 6867524"/>
              <a:gd name="connsiteX53" fmla="*/ 3588639 w 4814189"/>
              <a:gd name="connsiteY53" fmla="*/ 500063 h 6867524"/>
              <a:gd name="connsiteX54" fmla="*/ 3927179 w 4814189"/>
              <a:gd name="connsiteY54" fmla="*/ 0 h 6867524"/>
              <a:gd name="connsiteX55" fmla="*/ 4356989 w 4814189"/>
              <a:gd name="connsiteY55" fmla="*/ 1 h 6867524"/>
              <a:gd name="connsiteX56" fmla="*/ 4356989 w 4814189"/>
              <a:gd name="connsiteY56" fmla="*/ 0 h 6867524"/>
              <a:gd name="connsiteX57" fmla="*/ 4814189 w 4814189"/>
              <a:gd name="connsiteY57" fmla="*/ 0 h 6867524"/>
              <a:gd name="connsiteX58" fmla="*/ 4814189 w 4814189"/>
              <a:gd name="connsiteY58" fmla="*/ 6858000 h 6867524"/>
              <a:gd name="connsiteX59" fmla="*/ 4393184 w 4814189"/>
              <a:gd name="connsiteY59" fmla="*/ 6858000 h 6867524"/>
              <a:gd name="connsiteX60" fmla="*/ 4393184 w 4814189"/>
              <a:gd name="connsiteY60" fmla="*/ 6867524 h 6867524"/>
              <a:gd name="connsiteX61" fmla="*/ 1462191 w 4814189"/>
              <a:gd name="connsiteY61" fmla="*/ 6867524 h 6867524"/>
              <a:gd name="connsiteX62" fmla="*/ 0 w 4814189"/>
              <a:gd name="connsiteY62" fmla="*/ 5745131 h 6867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4814189" h="6867524">
                <a:moveTo>
                  <a:pt x="3855339" y="657226"/>
                </a:moveTo>
                <a:cubicBezTo>
                  <a:pt x="3855339" y="700315"/>
                  <a:pt x="3855339" y="700315"/>
                  <a:pt x="3855339" y="700315"/>
                </a:cubicBezTo>
                <a:cubicBezTo>
                  <a:pt x="3853117" y="702583"/>
                  <a:pt x="3846449" y="704851"/>
                  <a:pt x="3837559" y="704851"/>
                </a:cubicBezTo>
                <a:cubicBezTo>
                  <a:pt x="3822001" y="704851"/>
                  <a:pt x="3810889" y="698048"/>
                  <a:pt x="3810889" y="682173"/>
                </a:cubicBezTo>
                <a:cubicBezTo>
                  <a:pt x="3810889" y="668565"/>
                  <a:pt x="3817557" y="659494"/>
                  <a:pt x="3855339" y="657226"/>
                </a:cubicBezTo>
                <a:close/>
                <a:moveTo>
                  <a:pt x="3656394" y="606608"/>
                </a:moveTo>
                <a:cubicBezTo>
                  <a:pt x="3667146" y="607341"/>
                  <a:pt x="3688652" y="614048"/>
                  <a:pt x="3688652" y="655963"/>
                </a:cubicBezTo>
                <a:cubicBezTo>
                  <a:pt x="3688652" y="709614"/>
                  <a:pt x="3645922" y="705143"/>
                  <a:pt x="3645922" y="705143"/>
                </a:cubicBezTo>
                <a:cubicBezTo>
                  <a:pt x="3643673" y="705143"/>
                  <a:pt x="3636926" y="705143"/>
                  <a:pt x="3634677" y="702908"/>
                </a:cubicBezTo>
                <a:cubicBezTo>
                  <a:pt x="3634677" y="609018"/>
                  <a:pt x="3634677" y="609018"/>
                  <a:pt x="3634677" y="609018"/>
                </a:cubicBezTo>
                <a:cubicBezTo>
                  <a:pt x="3641424" y="606783"/>
                  <a:pt x="3650420" y="606783"/>
                  <a:pt x="3650420" y="606783"/>
                </a:cubicBezTo>
                <a:cubicBezTo>
                  <a:pt x="3650420" y="606783"/>
                  <a:pt x="3652809" y="606363"/>
                  <a:pt x="3656394" y="606608"/>
                </a:cubicBezTo>
                <a:close/>
                <a:moveTo>
                  <a:pt x="3848394" y="574675"/>
                </a:moveTo>
                <a:cubicBezTo>
                  <a:pt x="3820017" y="574675"/>
                  <a:pt x="3780727" y="585723"/>
                  <a:pt x="3780727" y="585723"/>
                </a:cubicBezTo>
                <a:cubicBezTo>
                  <a:pt x="3780727" y="610029"/>
                  <a:pt x="3780727" y="610029"/>
                  <a:pt x="3780727" y="610029"/>
                </a:cubicBezTo>
                <a:cubicBezTo>
                  <a:pt x="3780727" y="610029"/>
                  <a:pt x="3798189" y="607820"/>
                  <a:pt x="3826566" y="605610"/>
                </a:cubicBezTo>
                <a:cubicBezTo>
                  <a:pt x="3857125" y="603400"/>
                  <a:pt x="3857125" y="621077"/>
                  <a:pt x="3857125" y="621077"/>
                </a:cubicBezTo>
                <a:cubicBezTo>
                  <a:pt x="3857125" y="638755"/>
                  <a:pt x="3857125" y="638755"/>
                  <a:pt x="3857125" y="638755"/>
                </a:cubicBezTo>
                <a:cubicBezTo>
                  <a:pt x="3846211" y="636545"/>
                  <a:pt x="3763264" y="632126"/>
                  <a:pt x="3767630" y="689576"/>
                </a:cubicBezTo>
                <a:cubicBezTo>
                  <a:pt x="3767630" y="689576"/>
                  <a:pt x="3765447" y="738188"/>
                  <a:pt x="3815651" y="738188"/>
                </a:cubicBezTo>
                <a:cubicBezTo>
                  <a:pt x="3815651" y="738188"/>
                  <a:pt x="3837480" y="738188"/>
                  <a:pt x="3859308" y="724930"/>
                </a:cubicBezTo>
                <a:cubicBezTo>
                  <a:pt x="3859308" y="735978"/>
                  <a:pt x="3859308" y="735978"/>
                  <a:pt x="3859308" y="735978"/>
                </a:cubicBezTo>
                <a:cubicBezTo>
                  <a:pt x="3902964" y="735978"/>
                  <a:pt x="3902964" y="735978"/>
                  <a:pt x="3902964" y="735978"/>
                </a:cubicBezTo>
                <a:cubicBezTo>
                  <a:pt x="3902964" y="735978"/>
                  <a:pt x="3902964" y="676318"/>
                  <a:pt x="3902964" y="629916"/>
                </a:cubicBezTo>
                <a:cubicBezTo>
                  <a:pt x="3902964" y="583514"/>
                  <a:pt x="3874587" y="574675"/>
                  <a:pt x="3848394" y="574675"/>
                </a:cubicBezTo>
                <a:close/>
                <a:moveTo>
                  <a:pt x="4041062" y="573088"/>
                </a:moveTo>
                <a:cubicBezTo>
                  <a:pt x="4023671" y="573088"/>
                  <a:pt x="3999759" y="581819"/>
                  <a:pt x="3991063" y="586185"/>
                </a:cubicBezTo>
                <a:cubicBezTo>
                  <a:pt x="3991063" y="575271"/>
                  <a:pt x="3991063" y="575271"/>
                  <a:pt x="3991063" y="575271"/>
                </a:cubicBezTo>
                <a:cubicBezTo>
                  <a:pt x="3941064" y="575271"/>
                  <a:pt x="3941064" y="575271"/>
                  <a:pt x="3941064" y="575271"/>
                </a:cubicBezTo>
                <a:cubicBezTo>
                  <a:pt x="3941064" y="730250"/>
                  <a:pt x="3941064" y="730250"/>
                  <a:pt x="3941064" y="730250"/>
                </a:cubicBezTo>
                <a:cubicBezTo>
                  <a:pt x="3991063" y="730250"/>
                  <a:pt x="3991063" y="730250"/>
                  <a:pt x="3991063" y="730250"/>
                </a:cubicBezTo>
                <a:cubicBezTo>
                  <a:pt x="3991063" y="610196"/>
                  <a:pt x="3991063" y="610196"/>
                  <a:pt x="3991063" y="610196"/>
                </a:cubicBezTo>
                <a:cubicBezTo>
                  <a:pt x="3997585" y="608013"/>
                  <a:pt x="4012802" y="608013"/>
                  <a:pt x="4012802" y="608013"/>
                </a:cubicBezTo>
                <a:cubicBezTo>
                  <a:pt x="4038888" y="608013"/>
                  <a:pt x="4036714" y="623293"/>
                  <a:pt x="4036714" y="623293"/>
                </a:cubicBezTo>
                <a:cubicBezTo>
                  <a:pt x="4036714" y="730250"/>
                  <a:pt x="4036714" y="730250"/>
                  <a:pt x="4036714" y="730250"/>
                </a:cubicBezTo>
                <a:cubicBezTo>
                  <a:pt x="4086714" y="730250"/>
                  <a:pt x="4086714" y="730250"/>
                  <a:pt x="4086714" y="730250"/>
                </a:cubicBezTo>
                <a:cubicBezTo>
                  <a:pt x="4086714" y="730250"/>
                  <a:pt x="4086714" y="653852"/>
                  <a:pt x="4086714" y="621110"/>
                </a:cubicBezTo>
                <a:cubicBezTo>
                  <a:pt x="4086714" y="616744"/>
                  <a:pt x="4086714" y="612379"/>
                  <a:pt x="4084540" y="610196"/>
                </a:cubicBezTo>
                <a:cubicBezTo>
                  <a:pt x="4095409" y="608013"/>
                  <a:pt x="4108452" y="608013"/>
                  <a:pt x="4108452" y="608013"/>
                </a:cubicBezTo>
                <a:cubicBezTo>
                  <a:pt x="4134539" y="608013"/>
                  <a:pt x="4132365" y="623293"/>
                  <a:pt x="4132365" y="623293"/>
                </a:cubicBezTo>
                <a:cubicBezTo>
                  <a:pt x="4132365" y="730250"/>
                  <a:pt x="4132365" y="730250"/>
                  <a:pt x="4132365" y="730250"/>
                </a:cubicBezTo>
                <a:cubicBezTo>
                  <a:pt x="4182364" y="730250"/>
                  <a:pt x="4182364" y="730250"/>
                  <a:pt x="4182364" y="730250"/>
                </a:cubicBezTo>
                <a:cubicBezTo>
                  <a:pt x="4182364" y="730250"/>
                  <a:pt x="4182364" y="653852"/>
                  <a:pt x="4182364" y="621110"/>
                </a:cubicBezTo>
                <a:cubicBezTo>
                  <a:pt x="4182364" y="586185"/>
                  <a:pt x="4158451" y="573088"/>
                  <a:pt x="4136713" y="573088"/>
                </a:cubicBezTo>
                <a:cubicBezTo>
                  <a:pt x="4108452" y="573088"/>
                  <a:pt x="4080192" y="584002"/>
                  <a:pt x="4073670" y="586185"/>
                </a:cubicBezTo>
                <a:cubicBezTo>
                  <a:pt x="4064975" y="577454"/>
                  <a:pt x="4051932" y="573088"/>
                  <a:pt x="4041062" y="573088"/>
                </a:cubicBezTo>
                <a:close/>
                <a:moveTo>
                  <a:pt x="3588639" y="500063"/>
                </a:moveTo>
                <a:cubicBezTo>
                  <a:pt x="3588639" y="727164"/>
                  <a:pt x="3588639" y="727164"/>
                  <a:pt x="3588639" y="727164"/>
                </a:cubicBezTo>
                <a:cubicBezTo>
                  <a:pt x="3588639" y="727164"/>
                  <a:pt x="3623836" y="738188"/>
                  <a:pt x="3652434" y="738188"/>
                </a:cubicBezTo>
                <a:cubicBezTo>
                  <a:pt x="3681032" y="738188"/>
                  <a:pt x="3742627" y="724959"/>
                  <a:pt x="3742627" y="649994"/>
                </a:cubicBezTo>
                <a:cubicBezTo>
                  <a:pt x="3742627" y="575028"/>
                  <a:pt x="3683232" y="575028"/>
                  <a:pt x="3681032" y="575028"/>
                </a:cubicBezTo>
                <a:cubicBezTo>
                  <a:pt x="3678832" y="575028"/>
                  <a:pt x="3663433" y="575028"/>
                  <a:pt x="3639235" y="588258"/>
                </a:cubicBezTo>
                <a:cubicBezTo>
                  <a:pt x="3639235" y="500063"/>
                  <a:pt x="3639235" y="500063"/>
                  <a:pt x="3639235" y="500063"/>
                </a:cubicBezTo>
                <a:cubicBezTo>
                  <a:pt x="3588639" y="500063"/>
                  <a:pt x="3588639" y="500063"/>
                  <a:pt x="3588639" y="500063"/>
                </a:cubicBezTo>
                <a:close/>
                <a:moveTo>
                  <a:pt x="3927179" y="0"/>
                </a:moveTo>
                <a:lnTo>
                  <a:pt x="4356989" y="1"/>
                </a:lnTo>
                <a:lnTo>
                  <a:pt x="4356989" y="0"/>
                </a:lnTo>
                <a:lnTo>
                  <a:pt x="4814189" y="0"/>
                </a:lnTo>
                <a:lnTo>
                  <a:pt x="4814189" y="6858000"/>
                </a:lnTo>
                <a:lnTo>
                  <a:pt x="4393184" y="6858000"/>
                </a:lnTo>
                <a:lnTo>
                  <a:pt x="4393184" y="6867524"/>
                </a:lnTo>
                <a:lnTo>
                  <a:pt x="1462191" y="6867524"/>
                </a:lnTo>
                <a:lnTo>
                  <a:pt x="0" y="5745131"/>
                </a:lnTo>
                <a:close/>
              </a:path>
            </a:pathLst>
          </a:custGeom>
          <a:gradFill flip="none" rotWithShape="1">
            <a:gsLst>
              <a:gs pos="0">
                <a:schemeClr val="bg1">
                  <a:alpha val="0"/>
                </a:schemeClr>
              </a:gs>
              <a:gs pos="94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nl-NL">
              <a:solidFill>
                <a:srgbClr val="248D37"/>
              </a:solidFill>
            </a:endParaRPr>
          </a:p>
        </p:txBody>
      </p:sp>
      <p:sp>
        <p:nvSpPr>
          <p:cNvPr id="4" name="Tijdelijke aanduiding voor tekst 3">
            <a:extLst>
              <a:ext uri="{FF2B5EF4-FFF2-40B4-BE49-F238E27FC236}">
                <a16:creationId xmlns:a16="http://schemas.microsoft.com/office/drawing/2014/main" id="{48B373E4-EB09-4637-B2B7-5BD0BAB8AFAE}"/>
              </a:ext>
            </a:extLst>
          </p:cNvPr>
          <p:cNvSpPr>
            <a:spLocks noGrp="1"/>
          </p:cNvSpPr>
          <p:nvPr>
            <p:ph type="body" sz="quarter" idx="11"/>
          </p:nvPr>
        </p:nvSpPr>
        <p:spPr>
          <a:xfrm>
            <a:off x="1514475" y="2505075"/>
            <a:ext cx="9010650" cy="1076325"/>
          </a:xfrm>
        </p:spPr>
        <p:txBody>
          <a:bodyPr/>
          <a:lstStyle/>
          <a:p>
            <a:r>
              <a:rPr lang="en-US" b="1" dirty="0"/>
              <a:t>Material passports and digital product passports in construction</a:t>
            </a:r>
            <a:endParaRPr lang="en-US" dirty="0"/>
          </a:p>
          <a:p>
            <a:endParaRPr lang="nl-NL" dirty="0"/>
          </a:p>
        </p:txBody>
      </p:sp>
      <p:sp>
        <p:nvSpPr>
          <p:cNvPr id="5" name="Tijdelijke aanduiding voor tekst 4">
            <a:extLst>
              <a:ext uri="{FF2B5EF4-FFF2-40B4-BE49-F238E27FC236}">
                <a16:creationId xmlns:a16="http://schemas.microsoft.com/office/drawing/2014/main" id="{9483F17B-649B-4894-81AB-15C182BABA90}"/>
              </a:ext>
            </a:extLst>
          </p:cNvPr>
          <p:cNvSpPr>
            <a:spLocks noGrp="1"/>
          </p:cNvSpPr>
          <p:nvPr>
            <p:ph type="body" sz="quarter" idx="12"/>
          </p:nvPr>
        </p:nvSpPr>
        <p:spPr>
          <a:xfrm>
            <a:off x="1514475" y="4972894"/>
            <a:ext cx="9010650" cy="1427906"/>
          </a:xfrm>
        </p:spPr>
        <p:txBody>
          <a:bodyPr/>
          <a:lstStyle/>
          <a:p>
            <a:r>
              <a:rPr lang="nl-NL" sz="2000" dirty="0"/>
              <a:t>Janneke Bosma</a:t>
            </a:r>
            <a:br>
              <a:rPr lang="nl-NL" sz="2000" dirty="0"/>
            </a:br>
            <a:r>
              <a:rPr lang="nl-NL" sz="2000" dirty="0"/>
              <a:t>jambosma@gmail.com</a:t>
            </a:r>
            <a:br>
              <a:rPr lang="nl-NL" sz="2000" dirty="0"/>
            </a:br>
            <a:r>
              <a:rPr lang="nl-NL" sz="2000" dirty="0"/>
              <a:t>Construction Management &amp; Engineering </a:t>
            </a:r>
            <a:br>
              <a:rPr lang="nl-NL" sz="2000" dirty="0"/>
            </a:br>
            <a:endParaRPr lang="nl-NL" dirty="0"/>
          </a:p>
        </p:txBody>
      </p:sp>
    </p:spTree>
    <p:extLst>
      <p:ext uri="{BB962C8B-B14F-4D97-AF65-F5344CB8AC3E}">
        <p14:creationId xmlns:p14="http://schemas.microsoft.com/office/powerpoint/2010/main" val="37696733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err="1"/>
              <a:t>What</a:t>
            </a:r>
            <a:r>
              <a:rPr lang="nl-NL" dirty="0"/>
              <a:t> is SHACL ?</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4" name="Tekstvak 3">
            <a:extLst>
              <a:ext uri="{FF2B5EF4-FFF2-40B4-BE49-F238E27FC236}">
                <a16:creationId xmlns:a16="http://schemas.microsoft.com/office/drawing/2014/main" id="{0D450E02-4A61-8A4F-DFCB-076C0CA610BB}"/>
              </a:ext>
            </a:extLst>
          </p:cNvPr>
          <p:cNvSpPr txBox="1"/>
          <p:nvPr/>
        </p:nvSpPr>
        <p:spPr>
          <a:xfrm>
            <a:off x="914978" y="1292988"/>
            <a:ext cx="10164539" cy="4909036"/>
          </a:xfrm>
          <a:prstGeom prst="rect">
            <a:avLst/>
          </a:prstGeom>
          <a:noFill/>
        </p:spPr>
        <p:txBody>
          <a:bodyPr wrap="square" rtlCol="0">
            <a:spAutoFit/>
          </a:bodyPr>
          <a:lstStyle/>
          <a:p>
            <a:pPr algn="l"/>
            <a:r>
              <a:rPr lang="en-US" sz="1400" b="0" i="0" dirty="0">
                <a:solidFill>
                  <a:srgbClr val="0D0D0D"/>
                </a:solidFill>
                <a:effectLst/>
                <a:latin typeface="Söhne"/>
              </a:rPr>
              <a:t>Imagine we have an RDF dataset containing information about various pets, including cats. We want to create a SHACL schema to validate whether the cat information is correctly structured, including the presence of the cat's name and age.</a:t>
            </a:r>
          </a:p>
          <a:p>
            <a:pPr algn="l"/>
            <a:r>
              <a:rPr lang="en-US" sz="1400" b="0" i="0" dirty="0">
                <a:solidFill>
                  <a:srgbClr val="0D0D0D"/>
                </a:solidFill>
                <a:effectLst/>
                <a:latin typeface="Söhne"/>
              </a:rPr>
              <a:t>Here is a simple SHACL schema for this purpose:</a:t>
            </a:r>
            <a:br>
              <a:rPr lang="en-US" sz="1400" b="0" i="0" dirty="0">
                <a:solidFill>
                  <a:srgbClr val="0D0D0D"/>
                </a:solidFill>
                <a:effectLst/>
                <a:latin typeface="Söhne"/>
              </a:rPr>
            </a:br>
            <a:endParaRPr lang="en-US" sz="1400" b="0" i="0" dirty="0">
              <a:solidFill>
                <a:srgbClr val="0D0D0D"/>
              </a:solidFill>
              <a:effectLst/>
              <a:latin typeface="Söhne"/>
            </a:endParaRPr>
          </a:p>
          <a:p>
            <a:pPr algn="l"/>
            <a:r>
              <a:rPr lang="nl-NL" sz="1100" b="0" i="0" dirty="0">
                <a:solidFill>
                  <a:srgbClr val="FF0000"/>
                </a:solidFill>
                <a:effectLst/>
                <a:latin typeface="Söhne"/>
              </a:rPr>
              <a:t>@prefix </a:t>
            </a:r>
            <a:r>
              <a:rPr lang="nl-NL" sz="1100" b="0" i="0" dirty="0" err="1">
                <a:solidFill>
                  <a:srgbClr val="FF0000"/>
                </a:solidFill>
                <a:effectLst/>
                <a:latin typeface="Söhne"/>
              </a:rPr>
              <a:t>rdf</a:t>
            </a:r>
            <a:r>
              <a:rPr lang="nl-NL" sz="1100" b="0" i="0" dirty="0">
                <a:solidFill>
                  <a:srgbClr val="FF0000"/>
                </a:solidFill>
                <a:effectLst/>
                <a:latin typeface="Söhne"/>
              </a:rPr>
              <a:t>: &lt;http://www.w3.org/1999/02/22-rdf-syntax-ns#&gt; .</a:t>
            </a:r>
          </a:p>
          <a:p>
            <a:pPr algn="l"/>
            <a:r>
              <a:rPr lang="nl-NL" sz="1100" b="0" i="0" dirty="0">
                <a:solidFill>
                  <a:srgbClr val="FF0000"/>
                </a:solidFill>
                <a:effectLst/>
                <a:latin typeface="Söhne"/>
              </a:rPr>
              <a:t>@prefix </a:t>
            </a:r>
            <a:r>
              <a:rPr lang="nl-NL" sz="1100" b="0" i="0" dirty="0" err="1">
                <a:solidFill>
                  <a:srgbClr val="FF0000"/>
                </a:solidFill>
                <a:effectLst/>
                <a:latin typeface="Söhne"/>
              </a:rPr>
              <a:t>rdfs</a:t>
            </a:r>
            <a:r>
              <a:rPr lang="nl-NL" sz="1100" b="0" i="0" dirty="0">
                <a:solidFill>
                  <a:srgbClr val="FF0000"/>
                </a:solidFill>
                <a:effectLst/>
                <a:latin typeface="Söhne"/>
              </a:rPr>
              <a:t>: &lt;http://www.w3.org/2000/01/rdf-schema#&gt; .</a:t>
            </a:r>
          </a:p>
          <a:p>
            <a:pPr algn="l"/>
            <a:r>
              <a:rPr lang="nl-NL" sz="1100" b="0" i="0" dirty="0">
                <a:solidFill>
                  <a:srgbClr val="FF0000"/>
                </a:solidFill>
                <a:effectLst/>
                <a:latin typeface="Söhne"/>
              </a:rPr>
              <a:t>@prefix ex: &lt;http://example.org/&gt; .</a:t>
            </a:r>
          </a:p>
          <a:p>
            <a:pPr algn="l"/>
            <a:r>
              <a:rPr lang="nl-NL" sz="1100" b="0" i="0" dirty="0">
                <a:solidFill>
                  <a:srgbClr val="FF0000"/>
                </a:solidFill>
                <a:effectLst/>
                <a:latin typeface="Söhne"/>
              </a:rPr>
              <a:t>@prefix sh: &lt;http://www.w3.org/ns/shacl#&gt; .</a:t>
            </a:r>
          </a:p>
          <a:p>
            <a:pPr algn="l"/>
            <a:endParaRPr lang="nl-NL" sz="1100" b="0" i="0" dirty="0">
              <a:solidFill>
                <a:srgbClr val="FF0000"/>
              </a:solidFill>
              <a:effectLst/>
              <a:latin typeface="Söhne"/>
            </a:endParaRPr>
          </a:p>
          <a:p>
            <a:pPr algn="l"/>
            <a:r>
              <a:rPr lang="nl-NL" sz="1100" b="0" i="0" dirty="0" err="1">
                <a:solidFill>
                  <a:srgbClr val="FF0000"/>
                </a:solidFill>
                <a:effectLst/>
                <a:latin typeface="Söhne"/>
              </a:rPr>
              <a:t>ex:CatShape</a:t>
            </a:r>
            <a:endParaRPr lang="nl-NL" sz="1100" b="0" i="0" dirty="0">
              <a:solidFill>
                <a:srgbClr val="FF0000"/>
              </a:solidFill>
              <a:effectLst/>
              <a:latin typeface="Söhne"/>
            </a:endParaRPr>
          </a:p>
          <a:p>
            <a:pPr algn="l"/>
            <a:r>
              <a:rPr lang="nl-NL" sz="1100" b="0" i="0" dirty="0">
                <a:solidFill>
                  <a:srgbClr val="FF0000"/>
                </a:solidFill>
                <a:effectLst/>
                <a:latin typeface="Söhne"/>
              </a:rPr>
              <a:t>  a </a:t>
            </a:r>
            <a:r>
              <a:rPr lang="nl-NL" sz="1100" b="0" i="0" dirty="0" err="1">
                <a:solidFill>
                  <a:srgbClr val="FF0000"/>
                </a:solidFill>
                <a:effectLst/>
                <a:latin typeface="Söhne"/>
              </a:rPr>
              <a:t>sh:NodeShape</a:t>
            </a:r>
            <a:r>
              <a:rPr lang="nl-NL" sz="1100" b="0" i="0" dirty="0">
                <a:solidFill>
                  <a:srgbClr val="FF0000"/>
                </a:solidFill>
                <a:effectLst/>
                <a:latin typeface="Söhne"/>
              </a:rPr>
              <a:t> ;</a:t>
            </a:r>
          </a:p>
          <a:p>
            <a:pPr algn="l"/>
            <a:r>
              <a:rPr lang="nl-NL" sz="1100" b="0" i="0" dirty="0">
                <a:solidFill>
                  <a:srgbClr val="FF0000"/>
                </a:solidFill>
                <a:effectLst/>
                <a:latin typeface="Söhne"/>
              </a:rPr>
              <a:t>  </a:t>
            </a:r>
            <a:r>
              <a:rPr lang="nl-NL" sz="1100" b="0" i="0" dirty="0" err="1">
                <a:solidFill>
                  <a:srgbClr val="FF0000"/>
                </a:solidFill>
                <a:effectLst/>
                <a:latin typeface="Söhne"/>
              </a:rPr>
              <a:t>sh:targetClass</a:t>
            </a:r>
            <a:r>
              <a:rPr lang="nl-NL" sz="1100" b="0" i="0" dirty="0">
                <a:solidFill>
                  <a:srgbClr val="FF0000"/>
                </a:solidFill>
                <a:effectLst/>
                <a:latin typeface="Söhne"/>
              </a:rPr>
              <a:t> </a:t>
            </a:r>
            <a:r>
              <a:rPr lang="nl-NL" sz="1100" b="0" i="0" dirty="0" err="1">
                <a:solidFill>
                  <a:srgbClr val="FF0000"/>
                </a:solidFill>
                <a:effectLst/>
                <a:latin typeface="Söhne"/>
              </a:rPr>
              <a:t>ex:Cat</a:t>
            </a:r>
            <a:r>
              <a:rPr lang="nl-NL" sz="1100" b="0" i="0" dirty="0">
                <a:solidFill>
                  <a:srgbClr val="FF0000"/>
                </a:solidFill>
                <a:effectLst/>
                <a:latin typeface="Söhne"/>
              </a:rPr>
              <a:t> ;</a:t>
            </a:r>
          </a:p>
          <a:p>
            <a:pPr algn="l"/>
            <a:r>
              <a:rPr lang="nl-NL" sz="1100" b="0" i="0" dirty="0">
                <a:solidFill>
                  <a:srgbClr val="FF0000"/>
                </a:solidFill>
                <a:effectLst/>
                <a:latin typeface="Söhne"/>
              </a:rPr>
              <a:t>  </a:t>
            </a:r>
            <a:r>
              <a:rPr lang="nl-NL" sz="1100" b="0" i="0" dirty="0" err="1">
                <a:solidFill>
                  <a:srgbClr val="FF0000"/>
                </a:solidFill>
                <a:effectLst/>
                <a:latin typeface="Söhne"/>
              </a:rPr>
              <a:t>sh:property</a:t>
            </a:r>
            <a:r>
              <a:rPr lang="nl-NL" sz="1100" b="0" i="0" dirty="0">
                <a:solidFill>
                  <a:srgbClr val="FF0000"/>
                </a:solidFill>
                <a:effectLst/>
                <a:latin typeface="Söhne"/>
              </a:rPr>
              <a:t> [</a:t>
            </a:r>
          </a:p>
          <a:p>
            <a:pPr algn="l"/>
            <a:r>
              <a:rPr lang="nl-NL" sz="1100" b="0" i="0" dirty="0">
                <a:solidFill>
                  <a:srgbClr val="FF0000"/>
                </a:solidFill>
                <a:effectLst/>
                <a:latin typeface="Söhne"/>
              </a:rPr>
              <a:t>    </a:t>
            </a:r>
            <a:r>
              <a:rPr lang="nl-NL" sz="1100" b="0" i="0" dirty="0" err="1">
                <a:solidFill>
                  <a:srgbClr val="FF0000"/>
                </a:solidFill>
                <a:effectLst/>
                <a:latin typeface="Söhne"/>
              </a:rPr>
              <a:t>sh:path</a:t>
            </a:r>
            <a:r>
              <a:rPr lang="nl-NL" sz="1100" b="0" i="0" dirty="0">
                <a:solidFill>
                  <a:srgbClr val="FF0000"/>
                </a:solidFill>
                <a:effectLst/>
                <a:latin typeface="Söhne"/>
              </a:rPr>
              <a:t> </a:t>
            </a:r>
            <a:r>
              <a:rPr lang="nl-NL" sz="1100" b="0" i="0" dirty="0" err="1">
                <a:solidFill>
                  <a:srgbClr val="FF0000"/>
                </a:solidFill>
                <a:effectLst/>
                <a:latin typeface="Söhne"/>
              </a:rPr>
              <a:t>ex:hasName</a:t>
            </a:r>
            <a:r>
              <a:rPr lang="nl-NL" sz="1100" b="0" i="0" dirty="0">
                <a:solidFill>
                  <a:srgbClr val="FF0000"/>
                </a:solidFill>
                <a:effectLst/>
                <a:latin typeface="Söhne"/>
              </a:rPr>
              <a:t> ;</a:t>
            </a:r>
          </a:p>
          <a:p>
            <a:pPr algn="l"/>
            <a:r>
              <a:rPr lang="nl-NL" sz="1100" b="0" i="0" dirty="0">
                <a:solidFill>
                  <a:srgbClr val="FF0000"/>
                </a:solidFill>
                <a:effectLst/>
                <a:latin typeface="Söhne"/>
              </a:rPr>
              <a:t>    </a:t>
            </a:r>
            <a:r>
              <a:rPr lang="nl-NL" sz="1100" b="0" i="0" dirty="0" err="1">
                <a:solidFill>
                  <a:srgbClr val="FF0000"/>
                </a:solidFill>
                <a:effectLst/>
                <a:latin typeface="Söhne"/>
              </a:rPr>
              <a:t>sh:minCount</a:t>
            </a:r>
            <a:r>
              <a:rPr lang="nl-NL" sz="1100" b="0" i="0" dirty="0">
                <a:solidFill>
                  <a:srgbClr val="FF0000"/>
                </a:solidFill>
                <a:effectLst/>
                <a:latin typeface="Söhne"/>
              </a:rPr>
              <a:t> 1 ;</a:t>
            </a:r>
          </a:p>
          <a:p>
            <a:pPr algn="l"/>
            <a:r>
              <a:rPr lang="nl-NL" sz="1100" b="0" i="0" dirty="0">
                <a:solidFill>
                  <a:srgbClr val="FF0000"/>
                </a:solidFill>
                <a:effectLst/>
                <a:latin typeface="Söhne"/>
              </a:rPr>
              <a:t>  ] ;</a:t>
            </a:r>
          </a:p>
          <a:p>
            <a:pPr algn="l"/>
            <a:r>
              <a:rPr lang="nl-NL" sz="1100" b="0" i="0" dirty="0">
                <a:solidFill>
                  <a:srgbClr val="FF0000"/>
                </a:solidFill>
                <a:effectLst/>
                <a:latin typeface="Söhne"/>
              </a:rPr>
              <a:t>  </a:t>
            </a:r>
            <a:r>
              <a:rPr lang="nl-NL" sz="1100" b="0" i="0" dirty="0" err="1">
                <a:solidFill>
                  <a:srgbClr val="FF0000"/>
                </a:solidFill>
                <a:effectLst/>
                <a:latin typeface="Söhne"/>
              </a:rPr>
              <a:t>sh:property</a:t>
            </a:r>
            <a:r>
              <a:rPr lang="nl-NL" sz="1100" b="0" i="0" dirty="0">
                <a:solidFill>
                  <a:srgbClr val="FF0000"/>
                </a:solidFill>
                <a:effectLst/>
                <a:latin typeface="Söhne"/>
              </a:rPr>
              <a:t> [</a:t>
            </a:r>
          </a:p>
          <a:p>
            <a:pPr algn="l"/>
            <a:r>
              <a:rPr lang="nl-NL" sz="1100" b="0" i="0" dirty="0">
                <a:solidFill>
                  <a:srgbClr val="FF0000"/>
                </a:solidFill>
                <a:effectLst/>
                <a:latin typeface="Söhne"/>
              </a:rPr>
              <a:t>    </a:t>
            </a:r>
            <a:r>
              <a:rPr lang="nl-NL" sz="1100" b="0" i="0" dirty="0" err="1">
                <a:solidFill>
                  <a:srgbClr val="FF0000"/>
                </a:solidFill>
                <a:effectLst/>
                <a:latin typeface="Söhne"/>
              </a:rPr>
              <a:t>sh:path</a:t>
            </a:r>
            <a:r>
              <a:rPr lang="nl-NL" sz="1100" b="0" i="0" dirty="0">
                <a:solidFill>
                  <a:srgbClr val="FF0000"/>
                </a:solidFill>
                <a:effectLst/>
                <a:latin typeface="Söhne"/>
              </a:rPr>
              <a:t> </a:t>
            </a:r>
            <a:r>
              <a:rPr lang="nl-NL" sz="1100" b="0" i="0" dirty="0" err="1">
                <a:solidFill>
                  <a:srgbClr val="FF0000"/>
                </a:solidFill>
                <a:effectLst/>
                <a:latin typeface="Söhne"/>
              </a:rPr>
              <a:t>ex:hasAge</a:t>
            </a:r>
            <a:r>
              <a:rPr lang="nl-NL" sz="1100" b="0" i="0" dirty="0">
                <a:solidFill>
                  <a:srgbClr val="FF0000"/>
                </a:solidFill>
                <a:effectLst/>
                <a:latin typeface="Söhne"/>
              </a:rPr>
              <a:t> ;</a:t>
            </a:r>
          </a:p>
          <a:p>
            <a:pPr algn="l"/>
            <a:r>
              <a:rPr lang="nl-NL" sz="1100" b="0" i="0" dirty="0">
                <a:solidFill>
                  <a:srgbClr val="FF0000"/>
                </a:solidFill>
                <a:effectLst/>
                <a:latin typeface="Söhne"/>
              </a:rPr>
              <a:t>    </a:t>
            </a:r>
            <a:r>
              <a:rPr lang="nl-NL" sz="1100" b="0" i="0" dirty="0" err="1">
                <a:solidFill>
                  <a:srgbClr val="FF0000"/>
                </a:solidFill>
                <a:effectLst/>
                <a:latin typeface="Söhne"/>
              </a:rPr>
              <a:t>sh:minCount</a:t>
            </a:r>
            <a:r>
              <a:rPr lang="nl-NL" sz="1100" b="0" i="0" dirty="0">
                <a:solidFill>
                  <a:srgbClr val="FF0000"/>
                </a:solidFill>
                <a:effectLst/>
                <a:latin typeface="Söhne"/>
              </a:rPr>
              <a:t> 1 ;</a:t>
            </a:r>
          </a:p>
          <a:p>
            <a:pPr algn="l"/>
            <a:r>
              <a:rPr lang="nl-NL" sz="1100" b="0" i="0" dirty="0">
                <a:solidFill>
                  <a:srgbClr val="FF0000"/>
                </a:solidFill>
                <a:effectLst/>
                <a:latin typeface="Söhne"/>
              </a:rPr>
              <a:t>    </a:t>
            </a:r>
            <a:r>
              <a:rPr lang="nl-NL" sz="1100" b="0" i="0" dirty="0" err="1">
                <a:solidFill>
                  <a:srgbClr val="FF0000"/>
                </a:solidFill>
                <a:effectLst/>
                <a:latin typeface="Söhne"/>
              </a:rPr>
              <a:t>sh:datatype</a:t>
            </a:r>
            <a:r>
              <a:rPr lang="nl-NL" sz="1100" b="0" i="0" dirty="0">
                <a:solidFill>
                  <a:srgbClr val="FF0000"/>
                </a:solidFill>
                <a:effectLst/>
                <a:latin typeface="Söhne"/>
              </a:rPr>
              <a:t> </a:t>
            </a:r>
            <a:r>
              <a:rPr lang="nl-NL" sz="1100" b="0" i="0" dirty="0" err="1">
                <a:solidFill>
                  <a:srgbClr val="FF0000"/>
                </a:solidFill>
                <a:effectLst/>
                <a:latin typeface="Söhne"/>
              </a:rPr>
              <a:t>xsd:integer</a:t>
            </a:r>
            <a:r>
              <a:rPr lang="nl-NL" sz="1100" b="0" i="0" dirty="0">
                <a:solidFill>
                  <a:srgbClr val="FF0000"/>
                </a:solidFill>
                <a:effectLst/>
                <a:latin typeface="Söhne"/>
              </a:rPr>
              <a:t> ;</a:t>
            </a:r>
          </a:p>
          <a:p>
            <a:pPr algn="l"/>
            <a:r>
              <a:rPr lang="nl-NL" sz="1100" b="0" i="0" dirty="0">
                <a:solidFill>
                  <a:srgbClr val="FF0000"/>
                </a:solidFill>
                <a:effectLst/>
                <a:latin typeface="Söhne"/>
              </a:rPr>
              <a:t>  ] .</a:t>
            </a:r>
          </a:p>
          <a:p>
            <a:pPr algn="l"/>
            <a:endParaRPr lang="nl-NL" sz="1400" dirty="0">
              <a:solidFill>
                <a:srgbClr val="0D0D0D"/>
              </a:solidFill>
              <a:latin typeface="Söhne"/>
            </a:endParaRPr>
          </a:p>
          <a:p>
            <a:pPr algn="l"/>
            <a:r>
              <a:rPr lang="en-US" sz="1400" dirty="0">
                <a:solidFill>
                  <a:srgbClr val="0D0D0D"/>
                </a:solidFill>
                <a:latin typeface="Söhne"/>
              </a:rPr>
              <a:t>In this SHACL schema, we define a shape named `</a:t>
            </a:r>
            <a:r>
              <a:rPr lang="en-US" sz="1400" dirty="0" err="1">
                <a:solidFill>
                  <a:srgbClr val="0D0D0D"/>
                </a:solidFill>
                <a:latin typeface="Söhne"/>
              </a:rPr>
              <a:t>ex:CatShape</a:t>
            </a:r>
            <a:r>
              <a:rPr lang="en-US" sz="1400" dirty="0">
                <a:solidFill>
                  <a:srgbClr val="0D0D0D"/>
                </a:solidFill>
                <a:latin typeface="Söhne"/>
              </a:rPr>
              <a:t>`, which applies to all instances of the class `</a:t>
            </a:r>
            <a:r>
              <a:rPr lang="en-US" sz="1400" dirty="0" err="1">
                <a:solidFill>
                  <a:srgbClr val="0D0D0D"/>
                </a:solidFill>
                <a:latin typeface="Söhne"/>
              </a:rPr>
              <a:t>ex:Cat</a:t>
            </a:r>
            <a:r>
              <a:rPr lang="en-US" sz="1400" dirty="0">
                <a:solidFill>
                  <a:srgbClr val="0D0D0D"/>
                </a:solidFill>
                <a:latin typeface="Söhne"/>
              </a:rPr>
              <a:t>`. The shape specifies that a cat must have at least one name and one age. Additionally, we have indicated that the age must be an integer. Now, we can use this SHACL schema to validate our RDF dataset and ensure that the cat information is correctly structured according to these rules.</a:t>
            </a:r>
            <a:endParaRPr lang="nl-NL" sz="1400" b="0" i="0" dirty="0">
              <a:solidFill>
                <a:srgbClr val="0D0D0D"/>
              </a:solidFill>
              <a:effectLst/>
              <a:latin typeface="Söhne"/>
            </a:endParaRPr>
          </a:p>
          <a:p>
            <a:pPr algn="l"/>
            <a:endParaRPr lang="nl-NL" sz="1400" b="0" i="0" dirty="0">
              <a:solidFill>
                <a:srgbClr val="0D0D0D"/>
              </a:solidFill>
              <a:effectLst/>
              <a:latin typeface="Söhne"/>
            </a:endParaRPr>
          </a:p>
        </p:txBody>
      </p:sp>
      <p:sp>
        <p:nvSpPr>
          <p:cNvPr id="3" name="Tijdelijke aanduiding voor inhoud 6">
            <a:extLst>
              <a:ext uri="{FF2B5EF4-FFF2-40B4-BE49-F238E27FC236}">
                <a16:creationId xmlns:a16="http://schemas.microsoft.com/office/drawing/2014/main" id="{6D4D8CBC-C048-05BA-A92A-FF4531F28891}"/>
              </a:ext>
            </a:extLst>
          </p:cNvPr>
          <p:cNvSpPr txBox="1">
            <a:spLocks/>
          </p:cNvSpPr>
          <p:nvPr/>
        </p:nvSpPr>
        <p:spPr>
          <a:xfrm>
            <a:off x="10084378" y="5595730"/>
            <a:ext cx="1182175" cy="126227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sz="200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80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60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40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None/>
            </a:pPr>
            <a:r>
              <a:rPr lang="nl-NL" dirty="0" err="1">
                <a:latin typeface="Söhne"/>
              </a:rPr>
              <a:t>chatgpt</a:t>
            </a:r>
            <a:endParaRPr lang="nl-NL" dirty="0">
              <a:latin typeface="Söhne"/>
            </a:endParaRPr>
          </a:p>
          <a:p>
            <a:endParaRPr lang="nl-NL" dirty="0"/>
          </a:p>
        </p:txBody>
      </p:sp>
      <p:pic>
        <p:nvPicPr>
          <p:cNvPr id="6" name="Afbeelding 5">
            <a:extLst>
              <a:ext uri="{FF2B5EF4-FFF2-40B4-BE49-F238E27FC236}">
                <a16:creationId xmlns:a16="http://schemas.microsoft.com/office/drawing/2014/main" id="{C6FAF7E2-05C4-9E3C-5CA1-329D1966DD67}"/>
              </a:ext>
            </a:extLst>
          </p:cNvPr>
          <p:cNvPicPr>
            <a:picLocks noChangeAspect="1"/>
          </p:cNvPicPr>
          <p:nvPr/>
        </p:nvPicPr>
        <p:blipFill>
          <a:blip r:embed="rId3"/>
          <a:stretch>
            <a:fillRect/>
          </a:stretch>
        </p:blipFill>
        <p:spPr>
          <a:xfrm>
            <a:off x="2960914" y="3288093"/>
            <a:ext cx="1982992" cy="1603270"/>
          </a:xfrm>
          <a:prstGeom prst="rect">
            <a:avLst/>
          </a:prstGeom>
        </p:spPr>
      </p:pic>
    </p:spTree>
    <p:extLst>
      <p:ext uri="{BB962C8B-B14F-4D97-AF65-F5344CB8AC3E}">
        <p14:creationId xmlns:p14="http://schemas.microsoft.com/office/powerpoint/2010/main" val="653031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err="1"/>
              <a:t>What</a:t>
            </a:r>
            <a:r>
              <a:rPr lang="nl-NL" dirty="0"/>
              <a:t> is Python ?</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4" name="Tekstvak 3">
            <a:extLst>
              <a:ext uri="{FF2B5EF4-FFF2-40B4-BE49-F238E27FC236}">
                <a16:creationId xmlns:a16="http://schemas.microsoft.com/office/drawing/2014/main" id="{0D450E02-4A61-8A4F-DFCB-076C0CA610BB}"/>
              </a:ext>
            </a:extLst>
          </p:cNvPr>
          <p:cNvSpPr txBox="1"/>
          <p:nvPr/>
        </p:nvSpPr>
        <p:spPr>
          <a:xfrm>
            <a:off x="914978" y="1292988"/>
            <a:ext cx="10164539" cy="3970318"/>
          </a:xfrm>
          <a:prstGeom prst="rect">
            <a:avLst/>
          </a:prstGeom>
          <a:noFill/>
        </p:spPr>
        <p:txBody>
          <a:bodyPr wrap="square" rtlCol="0">
            <a:spAutoFit/>
          </a:bodyPr>
          <a:lstStyle/>
          <a:p>
            <a:pPr algn="l"/>
            <a:r>
              <a:rPr lang="en-US" sz="1200" b="0" i="0" dirty="0">
                <a:solidFill>
                  <a:srgbClr val="0D0D0D"/>
                </a:solidFill>
                <a:effectLst/>
                <a:latin typeface="Söhne"/>
              </a:rPr>
              <a:t>Python is a widely-used programming language known for its simplicity, readability, and versatility. It is an open-source programming language widely accepted in various domains, including web development, data analysis, artificial intelligence, scientific research, system automation, and more.</a:t>
            </a:r>
          </a:p>
          <a:p>
            <a:pPr algn="l"/>
            <a:endParaRPr lang="en-US" sz="1200" b="0" i="0" dirty="0">
              <a:solidFill>
                <a:srgbClr val="0D0D0D"/>
              </a:solidFill>
              <a:effectLst/>
              <a:latin typeface="Söhne"/>
            </a:endParaRPr>
          </a:p>
          <a:p>
            <a:pPr algn="l"/>
            <a:r>
              <a:rPr lang="en-US" sz="1200" b="0" i="0" dirty="0">
                <a:solidFill>
                  <a:srgbClr val="0D0D0D"/>
                </a:solidFill>
                <a:effectLst/>
                <a:latin typeface="Söhne"/>
              </a:rPr>
              <a:t>Some features of Python include:</a:t>
            </a:r>
          </a:p>
          <a:p>
            <a:pPr algn="l"/>
            <a:endParaRPr lang="en-US" sz="1200" b="0" i="0" dirty="0">
              <a:solidFill>
                <a:srgbClr val="0D0D0D"/>
              </a:solidFill>
              <a:effectLst/>
              <a:latin typeface="Söhne"/>
            </a:endParaRPr>
          </a:p>
          <a:p>
            <a:pPr algn="l"/>
            <a:r>
              <a:rPr lang="en-US" sz="1200" b="0" i="0" dirty="0">
                <a:solidFill>
                  <a:srgbClr val="0D0D0D"/>
                </a:solidFill>
                <a:effectLst/>
                <a:latin typeface="Söhne"/>
              </a:rPr>
              <a:t>1. **Easy to learn**: Python has a simple and clear syntax that resembles natural language, making it easy to learn and understand for both beginners and experienced developers.</a:t>
            </a:r>
          </a:p>
          <a:p>
            <a:pPr algn="l"/>
            <a:endParaRPr lang="en-US" sz="1200" b="0" i="0" dirty="0">
              <a:solidFill>
                <a:srgbClr val="0D0D0D"/>
              </a:solidFill>
              <a:effectLst/>
              <a:latin typeface="Söhne"/>
            </a:endParaRPr>
          </a:p>
          <a:p>
            <a:pPr algn="l"/>
            <a:r>
              <a:rPr lang="en-US" sz="1200" b="0" i="0" dirty="0">
                <a:solidFill>
                  <a:srgbClr val="0D0D0D"/>
                </a:solidFill>
                <a:effectLst/>
                <a:latin typeface="Söhne"/>
              </a:rPr>
              <a:t>2. **Expressive language**: Python encourages a minimalist and clear programming style, allowing developers to perform complex tasks with less code.</a:t>
            </a:r>
          </a:p>
          <a:p>
            <a:pPr algn="l"/>
            <a:endParaRPr lang="en-US" sz="1200" b="0" i="0" dirty="0">
              <a:solidFill>
                <a:srgbClr val="0D0D0D"/>
              </a:solidFill>
              <a:effectLst/>
              <a:latin typeface="Söhne"/>
            </a:endParaRPr>
          </a:p>
          <a:p>
            <a:pPr algn="l"/>
            <a:r>
              <a:rPr lang="en-US" sz="1200" b="0" i="0" dirty="0">
                <a:solidFill>
                  <a:srgbClr val="0D0D0D"/>
                </a:solidFill>
                <a:effectLst/>
                <a:latin typeface="Söhne"/>
              </a:rPr>
              <a:t>3. **Large standard library**: Python comes with an extensive standard library that offers a wide range of functionalities, ranging from file operations, network communication, and regular expressions to data structure operations, speeding up and simplifying development.</a:t>
            </a:r>
          </a:p>
          <a:p>
            <a:pPr algn="l"/>
            <a:endParaRPr lang="en-US" sz="1200" b="0" i="0" dirty="0">
              <a:solidFill>
                <a:srgbClr val="0D0D0D"/>
              </a:solidFill>
              <a:effectLst/>
              <a:latin typeface="Söhne"/>
            </a:endParaRPr>
          </a:p>
          <a:p>
            <a:pPr algn="l"/>
            <a:r>
              <a:rPr lang="en-US" sz="1200" b="0" i="0" dirty="0">
                <a:solidFill>
                  <a:srgbClr val="0D0D0D"/>
                </a:solidFill>
                <a:effectLst/>
                <a:latin typeface="Söhne"/>
              </a:rPr>
              <a:t>4. **Versatility**: Python is used in various application areas, including web development with frameworks like Django and Flask, scientific computing with libraries like NumPy and pandas, artificial intelligence and machine learning with libraries like TensorFlow and scikit-learn, and much more.</a:t>
            </a:r>
          </a:p>
          <a:p>
            <a:pPr algn="l"/>
            <a:endParaRPr lang="en-US" sz="1200" b="0" i="0" dirty="0">
              <a:solidFill>
                <a:srgbClr val="0D0D0D"/>
              </a:solidFill>
              <a:effectLst/>
              <a:latin typeface="Söhne"/>
            </a:endParaRPr>
          </a:p>
          <a:p>
            <a:pPr algn="l"/>
            <a:r>
              <a:rPr lang="en-US" sz="1200" b="0" i="0" dirty="0">
                <a:solidFill>
                  <a:srgbClr val="0D0D0D"/>
                </a:solidFill>
                <a:effectLst/>
                <a:latin typeface="Söhne"/>
              </a:rPr>
              <a:t>5. **Community and support**: Python has a large and active community of developers worldwide, resulting in extensive documentation, tutorials, and an abundance of open-source libraries and frameworks.</a:t>
            </a:r>
          </a:p>
          <a:p>
            <a:pPr algn="l"/>
            <a:endParaRPr lang="en-US" sz="1200" b="0" i="0" dirty="0">
              <a:solidFill>
                <a:srgbClr val="0D0D0D"/>
              </a:solidFill>
              <a:effectLst/>
              <a:latin typeface="Söhne"/>
            </a:endParaRPr>
          </a:p>
          <a:p>
            <a:pPr algn="l"/>
            <a:r>
              <a:rPr lang="en-US" sz="1200" b="0" i="0" dirty="0">
                <a:solidFill>
                  <a:srgbClr val="0D0D0D"/>
                </a:solidFill>
                <a:effectLst/>
                <a:latin typeface="Söhne"/>
              </a:rPr>
              <a:t>In summary, Python is a powerful and versatile programming language used for a wide range of applications, appealing to both beginners and experienced developers.</a:t>
            </a:r>
            <a:endParaRPr lang="nl-NL" sz="1400" b="0" i="0" dirty="0">
              <a:solidFill>
                <a:srgbClr val="0D0D0D"/>
              </a:solidFill>
              <a:effectLst/>
              <a:latin typeface="Söhne"/>
            </a:endParaRPr>
          </a:p>
        </p:txBody>
      </p:sp>
      <p:sp>
        <p:nvSpPr>
          <p:cNvPr id="3" name="Tijdelijke aanduiding voor inhoud 6">
            <a:extLst>
              <a:ext uri="{FF2B5EF4-FFF2-40B4-BE49-F238E27FC236}">
                <a16:creationId xmlns:a16="http://schemas.microsoft.com/office/drawing/2014/main" id="{6D4D8CBC-C048-05BA-A92A-FF4531F28891}"/>
              </a:ext>
            </a:extLst>
          </p:cNvPr>
          <p:cNvSpPr txBox="1">
            <a:spLocks/>
          </p:cNvSpPr>
          <p:nvPr/>
        </p:nvSpPr>
        <p:spPr>
          <a:xfrm>
            <a:off x="10084378" y="5595730"/>
            <a:ext cx="1182175" cy="126227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sz="200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80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60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40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None/>
            </a:pPr>
            <a:r>
              <a:rPr lang="nl-NL" dirty="0" err="1">
                <a:latin typeface="Söhne"/>
              </a:rPr>
              <a:t>chatgpt</a:t>
            </a:r>
            <a:endParaRPr lang="nl-NL" dirty="0">
              <a:latin typeface="Söhne"/>
            </a:endParaRPr>
          </a:p>
          <a:p>
            <a:endParaRPr lang="nl-NL" dirty="0"/>
          </a:p>
        </p:txBody>
      </p:sp>
    </p:spTree>
    <p:extLst>
      <p:ext uri="{BB962C8B-B14F-4D97-AF65-F5344CB8AC3E}">
        <p14:creationId xmlns:p14="http://schemas.microsoft.com/office/powerpoint/2010/main" val="24093129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a:t>The </a:t>
            </a:r>
            <a:r>
              <a:rPr lang="nl-NL" dirty="0" err="1"/>
              <a:t>underlying</a:t>
            </a:r>
            <a:r>
              <a:rPr lang="nl-NL" dirty="0"/>
              <a:t> steps</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3" name="Pijl: rechts 2">
            <a:extLst>
              <a:ext uri="{FF2B5EF4-FFF2-40B4-BE49-F238E27FC236}">
                <a16:creationId xmlns:a16="http://schemas.microsoft.com/office/drawing/2014/main" id="{2BF14DA1-661F-5CB7-5B19-2D2B8902750E}"/>
              </a:ext>
            </a:extLst>
          </p:cNvPr>
          <p:cNvSpPr/>
          <p:nvPr/>
        </p:nvSpPr>
        <p:spPr>
          <a:xfrm>
            <a:off x="652222" y="2813606"/>
            <a:ext cx="1403389"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err="1"/>
              <a:t>Revit</a:t>
            </a:r>
            <a:r>
              <a:rPr lang="nl-NL" dirty="0"/>
              <a:t> model</a:t>
            </a:r>
          </a:p>
        </p:txBody>
      </p:sp>
      <p:sp>
        <p:nvSpPr>
          <p:cNvPr id="5" name="Pijl: rechts 4">
            <a:extLst>
              <a:ext uri="{FF2B5EF4-FFF2-40B4-BE49-F238E27FC236}">
                <a16:creationId xmlns:a16="http://schemas.microsoft.com/office/drawing/2014/main" id="{80E19590-DD7C-5DB7-A3E5-316B3101E4B2}"/>
              </a:ext>
            </a:extLst>
          </p:cNvPr>
          <p:cNvSpPr/>
          <p:nvPr/>
        </p:nvSpPr>
        <p:spPr>
          <a:xfrm>
            <a:off x="2118287" y="2813606"/>
            <a:ext cx="1276197"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IFC</a:t>
            </a:r>
          </a:p>
        </p:txBody>
      </p:sp>
      <p:sp>
        <p:nvSpPr>
          <p:cNvPr id="6" name="Pijl: rechts 5">
            <a:extLst>
              <a:ext uri="{FF2B5EF4-FFF2-40B4-BE49-F238E27FC236}">
                <a16:creationId xmlns:a16="http://schemas.microsoft.com/office/drawing/2014/main" id="{94369FF1-8375-6456-02DA-6E8A1F57478C}"/>
              </a:ext>
            </a:extLst>
          </p:cNvPr>
          <p:cNvSpPr/>
          <p:nvPr/>
        </p:nvSpPr>
        <p:spPr>
          <a:xfrm>
            <a:off x="5137022" y="2824843"/>
            <a:ext cx="1402978"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RDF</a:t>
            </a:r>
          </a:p>
        </p:txBody>
      </p:sp>
      <p:sp>
        <p:nvSpPr>
          <p:cNvPr id="7" name="Pijl: rechts 6">
            <a:extLst>
              <a:ext uri="{FF2B5EF4-FFF2-40B4-BE49-F238E27FC236}">
                <a16:creationId xmlns:a16="http://schemas.microsoft.com/office/drawing/2014/main" id="{089ED333-AC11-5346-BE9A-34436DAE0E0D}"/>
              </a:ext>
            </a:extLst>
          </p:cNvPr>
          <p:cNvSpPr/>
          <p:nvPr/>
        </p:nvSpPr>
        <p:spPr>
          <a:xfrm>
            <a:off x="7185488" y="2822298"/>
            <a:ext cx="2062107"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Python 2</a:t>
            </a:r>
          </a:p>
        </p:txBody>
      </p:sp>
      <p:sp>
        <p:nvSpPr>
          <p:cNvPr id="8" name="Pijl: rechts 7">
            <a:extLst>
              <a:ext uri="{FF2B5EF4-FFF2-40B4-BE49-F238E27FC236}">
                <a16:creationId xmlns:a16="http://schemas.microsoft.com/office/drawing/2014/main" id="{C45C5163-9771-9C22-6CA4-12476AD36086}"/>
              </a:ext>
            </a:extLst>
          </p:cNvPr>
          <p:cNvSpPr/>
          <p:nvPr/>
        </p:nvSpPr>
        <p:spPr>
          <a:xfrm rot="5400000">
            <a:off x="5815739" y="2056699"/>
            <a:ext cx="1718884" cy="392239"/>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SHACL</a:t>
            </a:r>
          </a:p>
        </p:txBody>
      </p:sp>
      <p:sp>
        <p:nvSpPr>
          <p:cNvPr id="9" name="Ovaal 8">
            <a:extLst>
              <a:ext uri="{FF2B5EF4-FFF2-40B4-BE49-F238E27FC236}">
                <a16:creationId xmlns:a16="http://schemas.microsoft.com/office/drawing/2014/main" id="{60C59D0C-7F34-5328-F8A3-2C3D5BD21F19}"/>
              </a:ext>
            </a:extLst>
          </p:cNvPr>
          <p:cNvSpPr/>
          <p:nvPr/>
        </p:nvSpPr>
        <p:spPr>
          <a:xfrm>
            <a:off x="9580504" y="2362554"/>
            <a:ext cx="1707982" cy="1436915"/>
          </a:xfrm>
          <a:prstGeom prst="ellipse">
            <a:avLst/>
          </a:prstGeom>
          <a:ln>
            <a:solidFill>
              <a:schemeClr val="bg2">
                <a:lumMod val="50000"/>
              </a:schemeClr>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nl-NL" dirty="0"/>
              <a:t>Validation report</a:t>
            </a:r>
          </a:p>
        </p:txBody>
      </p:sp>
      <p:sp>
        <p:nvSpPr>
          <p:cNvPr id="10" name="Pijl: rechts 9">
            <a:extLst>
              <a:ext uri="{FF2B5EF4-FFF2-40B4-BE49-F238E27FC236}">
                <a16:creationId xmlns:a16="http://schemas.microsoft.com/office/drawing/2014/main" id="{B36FCB04-634F-6EE4-927B-CF1BA9893A16}"/>
              </a:ext>
            </a:extLst>
          </p:cNvPr>
          <p:cNvSpPr/>
          <p:nvPr/>
        </p:nvSpPr>
        <p:spPr>
          <a:xfrm rot="5400000">
            <a:off x="5176684" y="4711632"/>
            <a:ext cx="1604608" cy="496583"/>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SPARQL</a:t>
            </a:r>
          </a:p>
        </p:txBody>
      </p:sp>
      <p:sp>
        <p:nvSpPr>
          <p:cNvPr id="12" name="Rechthoek 11">
            <a:extLst>
              <a:ext uri="{FF2B5EF4-FFF2-40B4-BE49-F238E27FC236}">
                <a16:creationId xmlns:a16="http://schemas.microsoft.com/office/drawing/2014/main" id="{1E73C250-1527-603B-7D87-A98B46B924CC}"/>
              </a:ext>
            </a:extLst>
          </p:cNvPr>
          <p:cNvSpPr/>
          <p:nvPr/>
        </p:nvSpPr>
        <p:spPr>
          <a:xfrm>
            <a:off x="4986298" y="1204210"/>
            <a:ext cx="2100971" cy="4683269"/>
          </a:xfrm>
          <a:prstGeom prst="rect">
            <a:avLst/>
          </a:prstGeom>
          <a:noFill/>
          <a:ln w="19050">
            <a:solidFill>
              <a:schemeClr val="accent1">
                <a:lumMod val="60000"/>
                <a:lumOff val="40000"/>
              </a:schemeClr>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nl-NL"/>
          </a:p>
        </p:txBody>
      </p:sp>
      <p:sp>
        <p:nvSpPr>
          <p:cNvPr id="13" name="Rechthoek 12">
            <a:extLst>
              <a:ext uri="{FF2B5EF4-FFF2-40B4-BE49-F238E27FC236}">
                <a16:creationId xmlns:a16="http://schemas.microsoft.com/office/drawing/2014/main" id="{F8425492-1027-AF53-46FF-0C1AB39AE994}"/>
              </a:ext>
            </a:extLst>
          </p:cNvPr>
          <p:cNvSpPr/>
          <p:nvPr/>
        </p:nvSpPr>
        <p:spPr>
          <a:xfrm>
            <a:off x="652222" y="3886553"/>
            <a:ext cx="5826839" cy="168553"/>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The model of </a:t>
            </a:r>
            <a:r>
              <a:rPr lang="nl-NL" dirty="0" err="1"/>
              <a:t>the</a:t>
            </a:r>
            <a:r>
              <a:rPr lang="nl-NL" dirty="0"/>
              <a:t> building/object</a:t>
            </a:r>
          </a:p>
        </p:txBody>
      </p:sp>
      <p:sp>
        <p:nvSpPr>
          <p:cNvPr id="14" name="Rechthoek 13">
            <a:extLst>
              <a:ext uri="{FF2B5EF4-FFF2-40B4-BE49-F238E27FC236}">
                <a16:creationId xmlns:a16="http://schemas.microsoft.com/office/drawing/2014/main" id="{9448B57C-F5A4-AEFA-122A-DFF09EB74573}"/>
              </a:ext>
            </a:extLst>
          </p:cNvPr>
          <p:cNvSpPr/>
          <p:nvPr/>
        </p:nvSpPr>
        <p:spPr>
          <a:xfrm rot="5400000">
            <a:off x="4837427" y="4457214"/>
            <a:ext cx="1230810" cy="631620"/>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err="1"/>
              <a:t>Retrieve</a:t>
            </a:r>
            <a:r>
              <a:rPr lang="nl-NL" dirty="0"/>
              <a:t> </a:t>
            </a:r>
          </a:p>
          <a:p>
            <a:pPr algn="ctr"/>
            <a:r>
              <a:rPr lang="nl-NL" dirty="0"/>
              <a:t>data</a:t>
            </a:r>
          </a:p>
        </p:txBody>
      </p:sp>
      <p:sp>
        <p:nvSpPr>
          <p:cNvPr id="15" name="Rechthoek 14">
            <a:extLst>
              <a:ext uri="{FF2B5EF4-FFF2-40B4-BE49-F238E27FC236}">
                <a16:creationId xmlns:a16="http://schemas.microsoft.com/office/drawing/2014/main" id="{E8CDE6DC-D889-9DE9-5FD3-20C9EA913B72}"/>
              </a:ext>
            </a:extLst>
          </p:cNvPr>
          <p:cNvSpPr/>
          <p:nvPr/>
        </p:nvSpPr>
        <p:spPr>
          <a:xfrm rot="5400000">
            <a:off x="5506654" y="1776794"/>
            <a:ext cx="1398458" cy="631620"/>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Data </a:t>
            </a:r>
            <a:r>
              <a:rPr lang="nl-NL" dirty="0" err="1"/>
              <a:t>verification</a:t>
            </a:r>
            <a:endParaRPr lang="nl-NL" dirty="0"/>
          </a:p>
        </p:txBody>
      </p:sp>
      <p:sp>
        <p:nvSpPr>
          <p:cNvPr id="16" name="Rechthoek 15">
            <a:extLst>
              <a:ext uri="{FF2B5EF4-FFF2-40B4-BE49-F238E27FC236}">
                <a16:creationId xmlns:a16="http://schemas.microsoft.com/office/drawing/2014/main" id="{733BB036-B6B9-C5C5-1F5D-5465D704989E}"/>
              </a:ext>
            </a:extLst>
          </p:cNvPr>
          <p:cNvSpPr/>
          <p:nvPr/>
        </p:nvSpPr>
        <p:spPr>
          <a:xfrm>
            <a:off x="7172607" y="3905279"/>
            <a:ext cx="2074988" cy="781661"/>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Data </a:t>
            </a:r>
            <a:r>
              <a:rPr lang="nl-NL" dirty="0" err="1"/>
              <a:t>verification</a:t>
            </a:r>
            <a:r>
              <a:rPr lang="nl-NL" dirty="0"/>
              <a:t> (SHACL) on RDF data</a:t>
            </a:r>
          </a:p>
        </p:txBody>
      </p:sp>
      <p:sp>
        <p:nvSpPr>
          <p:cNvPr id="17" name="Rechthoek 16">
            <a:extLst>
              <a:ext uri="{FF2B5EF4-FFF2-40B4-BE49-F238E27FC236}">
                <a16:creationId xmlns:a16="http://schemas.microsoft.com/office/drawing/2014/main" id="{EA8662EF-1D91-FD69-1FD7-3879D2D9E2CA}"/>
              </a:ext>
            </a:extLst>
          </p:cNvPr>
          <p:cNvSpPr/>
          <p:nvPr/>
        </p:nvSpPr>
        <p:spPr>
          <a:xfrm>
            <a:off x="9349219" y="3886553"/>
            <a:ext cx="2074988" cy="1165443"/>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Report </a:t>
            </a:r>
            <a:r>
              <a:rPr lang="nl-NL" dirty="0" err="1"/>
              <a:t>about</a:t>
            </a:r>
            <a:r>
              <a:rPr lang="nl-NL" dirty="0"/>
              <a:t> </a:t>
            </a:r>
            <a:r>
              <a:rPr lang="nl-NL" dirty="0" err="1"/>
              <a:t>the</a:t>
            </a:r>
            <a:r>
              <a:rPr lang="nl-NL" dirty="0"/>
              <a:t> missing or wrong data in </a:t>
            </a:r>
            <a:r>
              <a:rPr lang="nl-NL" dirty="0" err="1"/>
              <a:t>the</a:t>
            </a:r>
            <a:r>
              <a:rPr lang="nl-NL" dirty="0"/>
              <a:t> model</a:t>
            </a:r>
          </a:p>
        </p:txBody>
      </p:sp>
      <p:sp>
        <p:nvSpPr>
          <p:cNvPr id="18" name="Pijl: rechts 17">
            <a:extLst>
              <a:ext uri="{FF2B5EF4-FFF2-40B4-BE49-F238E27FC236}">
                <a16:creationId xmlns:a16="http://schemas.microsoft.com/office/drawing/2014/main" id="{C6D6A254-D8E4-BDCA-3BF5-D5DD5053510D}"/>
              </a:ext>
            </a:extLst>
          </p:cNvPr>
          <p:cNvSpPr/>
          <p:nvPr/>
        </p:nvSpPr>
        <p:spPr>
          <a:xfrm>
            <a:off x="3458589" y="2791833"/>
            <a:ext cx="1489597" cy="10287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Python 1</a:t>
            </a:r>
          </a:p>
        </p:txBody>
      </p:sp>
      <p:sp>
        <p:nvSpPr>
          <p:cNvPr id="19" name="Rechthoek 18">
            <a:extLst>
              <a:ext uri="{FF2B5EF4-FFF2-40B4-BE49-F238E27FC236}">
                <a16:creationId xmlns:a16="http://schemas.microsoft.com/office/drawing/2014/main" id="{219E3B1D-A1BB-30DD-B6D3-18F4569C8614}"/>
              </a:ext>
            </a:extLst>
          </p:cNvPr>
          <p:cNvSpPr/>
          <p:nvPr/>
        </p:nvSpPr>
        <p:spPr>
          <a:xfrm>
            <a:off x="3457965" y="1965925"/>
            <a:ext cx="1424104" cy="781661"/>
          </a:xfrm>
          <a:prstGeom prst="rect">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Converter IFC/RDF</a:t>
            </a:r>
          </a:p>
        </p:txBody>
      </p:sp>
      <p:sp>
        <p:nvSpPr>
          <p:cNvPr id="20" name="Rechthoek 19">
            <a:extLst>
              <a:ext uri="{FF2B5EF4-FFF2-40B4-BE49-F238E27FC236}">
                <a16:creationId xmlns:a16="http://schemas.microsoft.com/office/drawing/2014/main" id="{3EACE04E-BE91-150C-1AEF-3A404104BBB8}"/>
              </a:ext>
            </a:extLst>
          </p:cNvPr>
          <p:cNvSpPr/>
          <p:nvPr/>
        </p:nvSpPr>
        <p:spPr>
          <a:xfrm>
            <a:off x="4986298" y="5864741"/>
            <a:ext cx="2100970" cy="302059"/>
          </a:xfrm>
          <a:prstGeom prst="rect">
            <a:avLst/>
          </a:prstGeom>
          <a:solidFill>
            <a:schemeClr val="accent1">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t>Linked data</a:t>
            </a:r>
          </a:p>
        </p:txBody>
      </p:sp>
    </p:spTree>
    <p:extLst>
      <p:ext uri="{BB962C8B-B14F-4D97-AF65-F5344CB8AC3E}">
        <p14:creationId xmlns:p14="http://schemas.microsoft.com/office/powerpoint/2010/main" val="35164892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err="1"/>
              <a:t>What</a:t>
            </a:r>
            <a:r>
              <a:rPr lang="nl-NL" dirty="0"/>
              <a:t> is Linked data?</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5" name="Tekstvak 4">
            <a:extLst>
              <a:ext uri="{FF2B5EF4-FFF2-40B4-BE49-F238E27FC236}">
                <a16:creationId xmlns:a16="http://schemas.microsoft.com/office/drawing/2014/main" id="{40BEEE44-7F2B-BDF1-A14B-33D44B17EE26}"/>
              </a:ext>
            </a:extLst>
          </p:cNvPr>
          <p:cNvSpPr txBox="1"/>
          <p:nvPr/>
        </p:nvSpPr>
        <p:spPr>
          <a:xfrm>
            <a:off x="772888" y="1292988"/>
            <a:ext cx="10472284" cy="4524315"/>
          </a:xfrm>
          <a:prstGeom prst="rect">
            <a:avLst/>
          </a:prstGeom>
          <a:noFill/>
        </p:spPr>
        <p:txBody>
          <a:bodyPr wrap="square">
            <a:spAutoFit/>
          </a:bodyPr>
          <a:lstStyle/>
          <a:p>
            <a:pPr algn="l"/>
            <a:endParaRPr lang="en-US" sz="1600" b="0" i="0" dirty="0">
              <a:effectLst/>
              <a:latin typeface="Söhne"/>
            </a:endParaRPr>
          </a:p>
          <a:p>
            <a:pPr marL="285750" indent="-285750" algn="l">
              <a:buFont typeface="Arial" panose="020B0604020202020204" pitchFamily="34" charset="0"/>
              <a:buChar char="•"/>
            </a:pPr>
            <a:r>
              <a:rPr lang="en-US" sz="1600" b="0" i="0" dirty="0">
                <a:effectLst/>
                <a:latin typeface="Söhne"/>
              </a:rPr>
              <a:t>Linked data is a way to organize information on the internet, similar to how you can use links on a website to navigate from one page to another. Imagine we want to share information about cats on the internet.</a:t>
            </a:r>
          </a:p>
          <a:p>
            <a:pPr marL="285750" indent="-285750" algn="l">
              <a:buFont typeface="Arial" panose="020B0604020202020204" pitchFamily="34" charset="0"/>
              <a:buChar char="•"/>
            </a:pPr>
            <a:endParaRPr lang="en-US" sz="1600" b="0" i="0" dirty="0">
              <a:effectLst/>
              <a:latin typeface="Söhne"/>
            </a:endParaRPr>
          </a:p>
          <a:p>
            <a:pPr marL="285750" indent="-285750" algn="l">
              <a:buFont typeface="Arial" panose="020B0604020202020204" pitchFamily="34" charset="0"/>
              <a:buChar char="•"/>
            </a:pPr>
            <a:r>
              <a:rPr lang="en-US" sz="1600" b="0" i="0" dirty="0">
                <a:effectLst/>
                <a:latin typeface="Söhne"/>
              </a:rPr>
              <a:t>Instead of putting all the information about cats on one huge webpage, we can break it down into smaller, specific pieces of information. For example, there could be a piece of information about the age of cats, another piece about their weight, and yet another piece about their breeds.</a:t>
            </a:r>
          </a:p>
          <a:p>
            <a:pPr marL="285750" indent="-285750" algn="l">
              <a:buFont typeface="Arial" panose="020B0604020202020204" pitchFamily="34" charset="0"/>
              <a:buChar char="•"/>
            </a:pPr>
            <a:endParaRPr lang="en-US" sz="1600" b="0" i="0" dirty="0">
              <a:effectLst/>
              <a:latin typeface="Söhne"/>
            </a:endParaRPr>
          </a:p>
          <a:p>
            <a:pPr marL="285750" indent="-285750" algn="l">
              <a:buFont typeface="Arial" panose="020B0604020202020204" pitchFamily="34" charset="0"/>
              <a:buChar char="•"/>
            </a:pPr>
            <a:r>
              <a:rPr lang="en-US" sz="1600" b="0" i="0" dirty="0">
                <a:effectLst/>
                <a:latin typeface="Söhne"/>
              </a:rPr>
              <a:t>These pieces of information are placed as 'data points' on the web and are given a unique identification, such as a web address. For instance, the weight of cats could have its own web address, like www.catinfo.com/weight.</a:t>
            </a:r>
          </a:p>
          <a:p>
            <a:pPr marL="285750" indent="-285750" algn="l">
              <a:buFont typeface="Arial" panose="020B0604020202020204" pitchFamily="34" charset="0"/>
              <a:buChar char="•"/>
            </a:pPr>
            <a:endParaRPr lang="en-US" sz="1600" b="0" i="0" dirty="0">
              <a:effectLst/>
              <a:latin typeface="Söhne"/>
            </a:endParaRPr>
          </a:p>
          <a:p>
            <a:pPr marL="285750" indent="-285750" algn="l">
              <a:buFont typeface="Arial" panose="020B0604020202020204" pitchFamily="34" charset="0"/>
              <a:buChar char="•"/>
            </a:pPr>
            <a:r>
              <a:rPr lang="en-US" sz="1600" b="0" i="0" dirty="0">
                <a:effectLst/>
                <a:latin typeface="Söhne"/>
              </a:rPr>
              <a:t>Now, we can link these data points, just like web links. For example, on the page about cat ages, we can place a link to cat weight by simply referring to that specific web address.</a:t>
            </a:r>
          </a:p>
          <a:p>
            <a:pPr marL="285750" indent="-285750" algn="l">
              <a:buFont typeface="Arial" panose="020B0604020202020204" pitchFamily="34" charset="0"/>
              <a:buChar char="•"/>
            </a:pPr>
            <a:endParaRPr lang="en-US" sz="1600" b="0" i="0" dirty="0">
              <a:effectLst/>
              <a:latin typeface="Söhne"/>
            </a:endParaRPr>
          </a:p>
          <a:p>
            <a:pPr marL="285750" indent="-285750" algn="l">
              <a:buFont typeface="Arial" panose="020B0604020202020204" pitchFamily="34" charset="0"/>
              <a:buChar char="•"/>
            </a:pPr>
            <a:r>
              <a:rPr lang="en-US" sz="1600" b="0" i="0" dirty="0">
                <a:effectLst/>
                <a:latin typeface="Söhne"/>
              </a:rPr>
              <a:t>This creates a web of interconnected information, where you can jump from one data point to another to learn more. The beauty is that this applies not just to cat information, but to all sorts of information on the web, making it easier to share and find data. So, linked data is like a web of connected information, similar to how we navigate from one page to another on the internet, but for data.</a:t>
            </a:r>
            <a:endParaRPr lang="nl-NL" b="0" i="0" dirty="0">
              <a:effectLst/>
              <a:latin typeface="Söhne"/>
            </a:endParaRPr>
          </a:p>
        </p:txBody>
      </p:sp>
      <p:sp>
        <p:nvSpPr>
          <p:cNvPr id="6" name="Tijdelijke aanduiding voor inhoud 6">
            <a:extLst>
              <a:ext uri="{FF2B5EF4-FFF2-40B4-BE49-F238E27FC236}">
                <a16:creationId xmlns:a16="http://schemas.microsoft.com/office/drawing/2014/main" id="{83D4BB63-68EA-C7CA-D494-BCA86230C4CC}"/>
              </a:ext>
            </a:extLst>
          </p:cNvPr>
          <p:cNvSpPr txBox="1">
            <a:spLocks/>
          </p:cNvSpPr>
          <p:nvPr/>
        </p:nvSpPr>
        <p:spPr>
          <a:xfrm>
            <a:off x="10084378" y="5715164"/>
            <a:ext cx="1182175" cy="126227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sz="200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80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60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40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None/>
            </a:pPr>
            <a:r>
              <a:rPr lang="nl-NL" dirty="0" err="1">
                <a:latin typeface="Söhne"/>
              </a:rPr>
              <a:t>chatgpt</a:t>
            </a:r>
            <a:endParaRPr lang="nl-NL" dirty="0">
              <a:latin typeface="Söhne"/>
            </a:endParaRPr>
          </a:p>
          <a:p>
            <a:endParaRPr lang="nl-NL" dirty="0"/>
          </a:p>
        </p:txBody>
      </p:sp>
      <p:pic>
        <p:nvPicPr>
          <p:cNvPr id="8" name="Picture 2" descr="A set of cats collection of cartoon kittens Vector Image">
            <a:extLst>
              <a:ext uri="{FF2B5EF4-FFF2-40B4-BE49-F238E27FC236}">
                <a16:creationId xmlns:a16="http://schemas.microsoft.com/office/drawing/2014/main" id="{C1A72766-9309-FA70-450B-BB4270732E6B}"/>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10000" b="90000" l="10000" r="90000">
                        <a14:foregroundMark x1="53700" y1="66706" x2="49700" y2="61575"/>
                        <a14:foregroundMark x1="49700" y1="61575" x2="49700" y2="61575"/>
                        <a14:foregroundMark x1="50900" y1="81742" x2="58700" y2="81384"/>
                        <a14:foregroundMark x1="58700" y1="81384" x2="64300" y2="77446"/>
                        <a14:foregroundMark x1="64300" y1="77446" x2="64400" y2="76611"/>
                        <a14:foregroundMark x1="64400" y1="78878" x2="65000" y2="77804"/>
                      </a14:backgroundRemoval>
                    </a14:imgEffect>
                  </a14:imgLayer>
                </a14:imgProps>
              </a:ext>
              <a:ext uri="{28A0092B-C50C-407E-A947-70E740481C1C}">
                <a14:useLocalDpi xmlns:a14="http://schemas.microsoft.com/office/drawing/2010/main" val="0"/>
              </a:ext>
            </a:extLst>
          </a:blip>
          <a:srcRect l="39758" t="57934" r="31909" b="14606"/>
          <a:stretch/>
        </p:blipFill>
        <p:spPr bwMode="auto">
          <a:xfrm>
            <a:off x="10203825" y="60065"/>
            <a:ext cx="1554124" cy="12622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391238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err="1"/>
              <a:t>What</a:t>
            </a:r>
            <a:r>
              <a:rPr lang="nl-NL" dirty="0"/>
              <a:t> is Linked data?</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5" name="Tekstvak 4">
            <a:extLst>
              <a:ext uri="{FF2B5EF4-FFF2-40B4-BE49-F238E27FC236}">
                <a16:creationId xmlns:a16="http://schemas.microsoft.com/office/drawing/2014/main" id="{40BEEE44-7F2B-BDF1-A14B-33D44B17EE26}"/>
              </a:ext>
            </a:extLst>
          </p:cNvPr>
          <p:cNvSpPr txBox="1"/>
          <p:nvPr/>
        </p:nvSpPr>
        <p:spPr>
          <a:xfrm>
            <a:off x="772888" y="1292988"/>
            <a:ext cx="10472284" cy="3293209"/>
          </a:xfrm>
          <a:prstGeom prst="rect">
            <a:avLst/>
          </a:prstGeom>
          <a:noFill/>
        </p:spPr>
        <p:txBody>
          <a:bodyPr wrap="square">
            <a:spAutoFit/>
          </a:bodyPr>
          <a:lstStyle/>
          <a:p>
            <a:pPr marL="285750" indent="-285750" algn="l">
              <a:buFont typeface="Arial" panose="020B0604020202020204" pitchFamily="34" charset="0"/>
              <a:buChar char="•"/>
            </a:pPr>
            <a:r>
              <a:rPr lang="en-US" sz="1600" b="0" i="0" dirty="0">
                <a:solidFill>
                  <a:srgbClr val="0D0D0D"/>
                </a:solidFill>
                <a:effectLst/>
                <a:latin typeface="Söhne"/>
              </a:rPr>
              <a:t>Linked Data, in simple terms, is a way to organize and connect information on the internet so that computers and people can easily communicate and understand each other.</a:t>
            </a:r>
          </a:p>
          <a:p>
            <a:pPr marL="285750" indent="-285750" algn="l">
              <a:buFont typeface="Arial" panose="020B0604020202020204" pitchFamily="34" charset="0"/>
              <a:buChar char="•"/>
            </a:pPr>
            <a:endParaRPr lang="en-US" sz="1600" b="0" i="0" dirty="0">
              <a:solidFill>
                <a:srgbClr val="0D0D0D"/>
              </a:solidFill>
              <a:effectLst/>
              <a:latin typeface="Söhne"/>
            </a:endParaRPr>
          </a:p>
          <a:p>
            <a:pPr marL="285750" indent="-285750" algn="l">
              <a:buFont typeface="Arial" panose="020B0604020202020204" pitchFamily="34" charset="0"/>
              <a:buChar char="•"/>
            </a:pPr>
            <a:r>
              <a:rPr lang="en-US" sz="1600" b="0" i="0" dirty="0">
                <a:solidFill>
                  <a:srgbClr val="0D0D0D"/>
                </a:solidFill>
                <a:effectLst/>
                <a:latin typeface="Söhne"/>
              </a:rPr>
              <a:t>Imagine the internet as a massive library, and all the information on the internet are books. Linked Data is like a smart way to label the books in the library so that you can easily see which books are related to each other. For example, if you find one book, you can see through the labels which other books are related to it, and thus you can discover a whole series of books on the same topic.</a:t>
            </a:r>
          </a:p>
          <a:p>
            <a:pPr marL="285750" indent="-285750" algn="l">
              <a:buFont typeface="Arial" panose="020B0604020202020204" pitchFamily="34" charset="0"/>
              <a:buChar char="•"/>
            </a:pPr>
            <a:endParaRPr lang="en-US" sz="1600" b="0" i="0" dirty="0">
              <a:solidFill>
                <a:srgbClr val="0D0D0D"/>
              </a:solidFill>
              <a:effectLst/>
              <a:latin typeface="Söhne"/>
            </a:endParaRPr>
          </a:p>
          <a:p>
            <a:pPr marL="285750" indent="-285750" algn="l">
              <a:buFont typeface="Arial" panose="020B0604020202020204" pitchFamily="34" charset="0"/>
              <a:buChar char="•"/>
            </a:pPr>
            <a:r>
              <a:rPr lang="en-US" sz="1600" b="0" i="0" dirty="0">
                <a:solidFill>
                  <a:srgbClr val="0D0D0D"/>
                </a:solidFill>
                <a:effectLst/>
                <a:latin typeface="Söhne"/>
              </a:rPr>
              <a:t>In the same way, Linked Data labels information on the internet with special tags, so that computers can understand how different pieces of information are related to each other. This makes it possible to easily share, link, and understand information, making the internet even more useful.</a:t>
            </a:r>
          </a:p>
          <a:p>
            <a:pPr marL="285750" indent="-285750" algn="l">
              <a:buFont typeface="Arial" panose="020B0604020202020204" pitchFamily="34" charset="0"/>
              <a:buChar char="•"/>
            </a:pPr>
            <a:endParaRPr lang="en-US" sz="1600" b="0" i="0" dirty="0">
              <a:solidFill>
                <a:srgbClr val="0D0D0D"/>
              </a:solidFill>
              <a:effectLst/>
              <a:latin typeface="Söhne"/>
            </a:endParaRPr>
          </a:p>
          <a:p>
            <a:pPr marL="285750" indent="-285750" algn="l">
              <a:buFont typeface="Arial" panose="020B0604020202020204" pitchFamily="34" charset="0"/>
              <a:buChar char="•"/>
            </a:pPr>
            <a:r>
              <a:rPr lang="en-US" sz="1600" b="0" i="0" dirty="0">
                <a:solidFill>
                  <a:srgbClr val="0D0D0D"/>
                </a:solidFill>
                <a:effectLst/>
                <a:latin typeface="Söhne"/>
              </a:rPr>
              <a:t>In short, Linked Data is like a smart library catalog for the internet, making information easier to find and use.</a:t>
            </a:r>
          </a:p>
        </p:txBody>
      </p:sp>
      <p:sp>
        <p:nvSpPr>
          <p:cNvPr id="6" name="Tijdelijke aanduiding voor inhoud 6">
            <a:extLst>
              <a:ext uri="{FF2B5EF4-FFF2-40B4-BE49-F238E27FC236}">
                <a16:creationId xmlns:a16="http://schemas.microsoft.com/office/drawing/2014/main" id="{83D4BB63-68EA-C7CA-D494-BCA86230C4CC}"/>
              </a:ext>
            </a:extLst>
          </p:cNvPr>
          <p:cNvSpPr txBox="1">
            <a:spLocks/>
          </p:cNvSpPr>
          <p:nvPr/>
        </p:nvSpPr>
        <p:spPr>
          <a:xfrm>
            <a:off x="10084378" y="5595730"/>
            <a:ext cx="1182175" cy="126227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sz="200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80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60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40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None/>
            </a:pPr>
            <a:r>
              <a:rPr lang="nl-NL" dirty="0" err="1">
                <a:latin typeface="Söhne"/>
              </a:rPr>
              <a:t>chatgpt</a:t>
            </a:r>
            <a:endParaRPr lang="nl-NL" dirty="0">
              <a:latin typeface="Söhne"/>
            </a:endParaRPr>
          </a:p>
          <a:p>
            <a:endParaRPr lang="nl-NL" dirty="0"/>
          </a:p>
        </p:txBody>
      </p:sp>
      <p:sp>
        <p:nvSpPr>
          <p:cNvPr id="3" name="Tekstvak 2">
            <a:extLst>
              <a:ext uri="{FF2B5EF4-FFF2-40B4-BE49-F238E27FC236}">
                <a16:creationId xmlns:a16="http://schemas.microsoft.com/office/drawing/2014/main" id="{52A13EDA-4355-7AA7-3CE6-7620702AC536}"/>
              </a:ext>
            </a:extLst>
          </p:cNvPr>
          <p:cNvSpPr txBox="1"/>
          <p:nvPr/>
        </p:nvSpPr>
        <p:spPr>
          <a:xfrm>
            <a:off x="925447" y="5245315"/>
            <a:ext cx="7796540" cy="646331"/>
          </a:xfrm>
          <a:prstGeom prst="rect">
            <a:avLst/>
          </a:prstGeom>
          <a:noFill/>
        </p:spPr>
        <p:txBody>
          <a:bodyPr wrap="square" rtlCol="0">
            <a:spAutoFit/>
          </a:bodyPr>
          <a:lstStyle/>
          <a:p>
            <a:r>
              <a:rPr lang="nl-NL" dirty="0" err="1"/>
              <a:t>Example</a:t>
            </a:r>
            <a:r>
              <a:rPr lang="nl-NL" dirty="0"/>
              <a:t>: 1. </a:t>
            </a:r>
            <a:r>
              <a:rPr lang="en-US" dirty="0">
                <a:hlinkClick r:id="rId2"/>
              </a:rPr>
              <a:t>What is Linked Data? - YouTube</a:t>
            </a:r>
            <a:endParaRPr lang="nl-NL" dirty="0"/>
          </a:p>
          <a:p>
            <a:endParaRPr lang="nl-NL" u="sng" dirty="0"/>
          </a:p>
        </p:txBody>
      </p:sp>
    </p:spTree>
    <p:extLst>
      <p:ext uri="{BB962C8B-B14F-4D97-AF65-F5344CB8AC3E}">
        <p14:creationId xmlns:p14="http://schemas.microsoft.com/office/powerpoint/2010/main" val="33883143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err="1"/>
              <a:t>What</a:t>
            </a:r>
            <a:r>
              <a:rPr lang="nl-NL" dirty="0"/>
              <a:t> is RDF ?</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4" name="Tekstvak 3">
            <a:extLst>
              <a:ext uri="{FF2B5EF4-FFF2-40B4-BE49-F238E27FC236}">
                <a16:creationId xmlns:a16="http://schemas.microsoft.com/office/drawing/2014/main" id="{0D450E02-4A61-8A4F-DFCB-076C0CA610BB}"/>
              </a:ext>
            </a:extLst>
          </p:cNvPr>
          <p:cNvSpPr txBox="1"/>
          <p:nvPr/>
        </p:nvSpPr>
        <p:spPr>
          <a:xfrm>
            <a:off x="914978" y="992094"/>
            <a:ext cx="10164539" cy="4247317"/>
          </a:xfrm>
          <a:prstGeom prst="rect">
            <a:avLst/>
          </a:prstGeom>
          <a:noFill/>
        </p:spPr>
        <p:txBody>
          <a:bodyPr wrap="square" rtlCol="0">
            <a:spAutoFit/>
          </a:bodyPr>
          <a:lstStyle/>
          <a:p>
            <a:pPr algn="l"/>
            <a:endParaRPr lang="en-US" sz="1600" b="0" i="0" dirty="0">
              <a:solidFill>
                <a:srgbClr val="0D0D0D"/>
              </a:solidFill>
              <a:effectLst/>
              <a:latin typeface="Söhne"/>
            </a:endParaRPr>
          </a:p>
          <a:p>
            <a:pPr algn="l"/>
            <a:r>
              <a:rPr lang="en-US" sz="1600" b="0" i="0" dirty="0">
                <a:solidFill>
                  <a:srgbClr val="0D0D0D"/>
                </a:solidFill>
                <a:effectLst/>
                <a:latin typeface="Söhne"/>
              </a:rPr>
              <a:t>RDF stands for Resource Description Framework. It is a standard model for representing data and metadata on the web. RDF provides a standardized way to describe and share information, making it possible to structure data in a machine-readable manner.</a:t>
            </a:r>
          </a:p>
          <a:p>
            <a:pPr algn="l"/>
            <a:endParaRPr lang="en-US" sz="1600" b="0" i="0" dirty="0">
              <a:solidFill>
                <a:srgbClr val="0D0D0D"/>
              </a:solidFill>
              <a:effectLst/>
              <a:latin typeface="Söhne"/>
            </a:endParaRPr>
          </a:p>
          <a:p>
            <a:pPr algn="l"/>
            <a:r>
              <a:rPr lang="en-US" sz="1600" b="0" i="0" dirty="0">
                <a:solidFill>
                  <a:srgbClr val="0D0D0D"/>
                </a:solidFill>
                <a:effectLst/>
                <a:latin typeface="Söhne"/>
              </a:rPr>
              <a:t>In RDF, data is modeled as triples, consisting of subject-predicate-object. This is often represented as a directed graph, where subjects and objects are nodes and the predicate connections are between them. Each triple represents a fact about a resource, with the subject being the subject of the statement, the predicate being the property or relationship being described, and the object being the value or target of that property.</a:t>
            </a:r>
          </a:p>
          <a:p>
            <a:pPr algn="l"/>
            <a:endParaRPr lang="en-US" sz="1600" b="0" i="0" dirty="0">
              <a:solidFill>
                <a:srgbClr val="0D0D0D"/>
              </a:solidFill>
              <a:effectLst/>
              <a:latin typeface="Söhne"/>
            </a:endParaRPr>
          </a:p>
          <a:p>
            <a:pPr algn="l"/>
            <a:r>
              <a:rPr lang="en-US" sz="1600" b="0" i="0" dirty="0">
                <a:solidFill>
                  <a:srgbClr val="0D0D0D"/>
                </a:solidFill>
                <a:effectLst/>
                <a:latin typeface="Söhne"/>
              </a:rPr>
              <a:t>RDF is widely used within the domain of Linked Data, as it provides a standardized way to model and share data on the web. It enables assigning semantic meaning to data, allowing computer systems to better understand and process data.</a:t>
            </a: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2000" i="1" dirty="0">
              <a:latin typeface="Calibri" panose="020F0502020204030204" pitchFamily="34" charset="0"/>
              <a:ea typeface="Calibri" panose="020F0502020204030204" pitchFamily="34" charset="0"/>
              <a:cs typeface="Times New Roman" panose="02020603050405020304" pitchFamily="18" charset="0"/>
            </a:endParaRPr>
          </a:p>
          <a:p>
            <a:endParaRPr lang="en-US" sz="2000" i="1" dirty="0">
              <a:effectLst/>
              <a:latin typeface="Calibri" panose="020F0502020204030204" pitchFamily="34" charset="0"/>
              <a:ea typeface="Calibri" panose="020F0502020204030204" pitchFamily="34" charset="0"/>
              <a:cs typeface="Times New Roman" panose="02020603050405020304" pitchFamily="18" charset="0"/>
            </a:endParaRPr>
          </a:p>
          <a:p>
            <a:endParaRPr lang="nl-NL" dirty="0"/>
          </a:p>
        </p:txBody>
      </p:sp>
      <p:sp>
        <p:nvSpPr>
          <p:cNvPr id="3" name="Tijdelijke aanduiding voor inhoud 6">
            <a:extLst>
              <a:ext uri="{FF2B5EF4-FFF2-40B4-BE49-F238E27FC236}">
                <a16:creationId xmlns:a16="http://schemas.microsoft.com/office/drawing/2014/main" id="{6D4D8CBC-C048-05BA-A92A-FF4531F28891}"/>
              </a:ext>
            </a:extLst>
          </p:cNvPr>
          <p:cNvSpPr txBox="1">
            <a:spLocks/>
          </p:cNvSpPr>
          <p:nvPr/>
        </p:nvSpPr>
        <p:spPr>
          <a:xfrm>
            <a:off x="10084378" y="5595730"/>
            <a:ext cx="1182175" cy="126227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sz="200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80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60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40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None/>
            </a:pPr>
            <a:r>
              <a:rPr lang="nl-NL" dirty="0" err="1">
                <a:latin typeface="Söhne"/>
              </a:rPr>
              <a:t>chatgpt</a:t>
            </a:r>
            <a:endParaRPr lang="nl-NL" dirty="0">
              <a:latin typeface="Söhne"/>
            </a:endParaRPr>
          </a:p>
          <a:p>
            <a:endParaRPr lang="nl-NL" dirty="0"/>
          </a:p>
        </p:txBody>
      </p:sp>
    </p:spTree>
    <p:extLst>
      <p:ext uri="{BB962C8B-B14F-4D97-AF65-F5344CB8AC3E}">
        <p14:creationId xmlns:p14="http://schemas.microsoft.com/office/powerpoint/2010/main" val="7481009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err="1"/>
              <a:t>What</a:t>
            </a:r>
            <a:r>
              <a:rPr lang="nl-NL" dirty="0"/>
              <a:t> is RDF ?</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4" name="Tekstvak 3">
            <a:extLst>
              <a:ext uri="{FF2B5EF4-FFF2-40B4-BE49-F238E27FC236}">
                <a16:creationId xmlns:a16="http://schemas.microsoft.com/office/drawing/2014/main" id="{0D450E02-4A61-8A4F-DFCB-076C0CA610BB}"/>
              </a:ext>
            </a:extLst>
          </p:cNvPr>
          <p:cNvSpPr txBox="1"/>
          <p:nvPr/>
        </p:nvSpPr>
        <p:spPr>
          <a:xfrm>
            <a:off x="914978" y="992094"/>
            <a:ext cx="10164539" cy="6524863"/>
          </a:xfrm>
          <a:prstGeom prst="rect">
            <a:avLst/>
          </a:prstGeom>
          <a:noFill/>
        </p:spPr>
        <p:txBody>
          <a:bodyPr wrap="square" rtlCol="0">
            <a:spAutoFit/>
          </a:bodyPr>
          <a:lstStyle/>
          <a:p>
            <a:pPr algn="l"/>
            <a:br>
              <a:rPr lang="nl-NL" sz="2000" b="0" i="0" dirty="0">
                <a:solidFill>
                  <a:srgbClr val="0D0D0D"/>
                </a:solidFill>
                <a:effectLst/>
                <a:latin typeface="Söhne"/>
              </a:rPr>
            </a:br>
            <a:r>
              <a:rPr lang="en-US" sz="1600" b="0" i="0" dirty="0">
                <a:solidFill>
                  <a:srgbClr val="0D0D0D"/>
                </a:solidFill>
                <a:effectLst/>
                <a:latin typeface="Söhne"/>
              </a:rPr>
              <a:t>Here's the translation:</a:t>
            </a:r>
          </a:p>
          <a:p>
            <a:pPr algn="l"/>
            <a:endParaRPr lang="en-US" sz="1600" b="0" i="0" dirty="0">
              <a:solidFill>
                <a:srgbClr val="0D0D0D"/>
              </a:solidFill>
              <a:effectLst/>
              <a:latin typeface="Söhne"/>
            </a:endParaRPr>
          </a:p>
          <a:p>
            <a:pPr algn="l"/>
            <a:r>
              <a:rPr lang="en-US" sz="1600" b="0" i="0" dirty="0">
                <a:solidFill>
                  <a:srgbClr val="0D0D0D"/>
                </a:solidFill>
                <a:effectLst/>
                <a:latin typeface="Söhne"/>
              </a:rPr>
              <a:t>Imagine we want to model information about a cat named "Whiskers". We can do this using RDF triples. Let's assume we want to capture the following information about Whiskers: his name, his age, and the fact that he is a pet.</a:t>
            </a:r>
          </a:p>
          <a:p>
            <a:pPr algn="l"/>
            <a:r>
              <a:rPr lang="en-US" sz="1600" b="0" i="0" dirty="0">
                <a:solidFill>
                  <a:srgbClr val="0D0D0D"/>
                </a:solidFill>
                <a:effectLst/>
                <a:latin typeface="Söhne"/>
              </a:rPr>
              <a:t>Here's how we can do this in RDF:</a:t>
            </a:r>
          </a:p>
          <a:p>
            <a:pPr algn="l"/>
            <a:endParaRPr lang="en-US" sz="1600" b="0" i="0" dirty="0">
              <a:solidFill>
                <a:srgbClr val="0D0D0D"/>
              </a:solidFill>
              <a:effectLst/>
              <a:latin typeface="Söhne"/>
            </a:endParaRPr>
          </a:p>
          <a:p>
            <a:pPr algn="l"/>
            <a:r>
              <a:rPr lang="en-US" sz="1600" b="0" i="0" dirty="0">
                <a:solidFill>
                  <a:srgbClr val="0D0D0D"/>
                </a:solidFill>
                <a:effectLst/>
                <a:latin typeface="Söhne"/>
              </a:rPr>
              <a:t>The subject is "Whiskers".</a:t>
            </a:r>
          </a:p>
          <a:p>
            <a:pPr algn="l"/>
            <a:r>
              <a:rPr lang="en-US" sz="1600" b="0" i="0" dirty="0">
                <a:solidFill>
                  <a:srgbClr val="0D0D0D"/>
                </a:solidFill>
                <a:effectLst/>
                <a:latin typeface="Söhne"/>
              </a:rPr>
              <a:t>The predicate is "age" and the object is "5 years".</a:t>
            </a:r>
          </a:p>
          <a:p>
            <a:pPr algn="l"/>
            <a:r>
              <a:rPr lang="en-US" sz="1600" b="0" i="0" dirty="0">
                <a:solidFill>
                  <a:srgbClr val="0D0D0D"/>
                </a:solidFill>
                <a:effectLst/>
                <a:latin typeface="Söhne"/>
              </a:rPr>
              <a:t>The predicate is "is a" and the object is "pet".</a:t>
            </a:r>
          </a:p>
          <a:p>
            <a:pPr algn="l"/>
            <a:endParaRPr lang="en-US" sz="1600" b="0" i="0" dirty="0">
              <a:solidFill>
                <a:srgbClr val="0D0D0D"/>
              </a:solidFill>
              <a:effectLst/>
              <a:latin typeface="Söhne"/>
            </a:endParaRPr>
          </a:p>
          <a:p>
            <a:pPr algn="l"/>
            <a:r>
              <a:rPr lang="en-US" sz="1600" b="0" i="0" dirty="0">
                <a:solidFill>
                  <a:srgbClr val="0D0D0D"/>
                </a:solidFill>
                <a:effectLst/>
                <a:latin typeface="Söhne"/>
              </a:rPr>
              <a:t>This is translated into RDF triples as:</a:t>
            </a:r>
          </a:p>
          <a:p>
            <a:pPr algn="l"/>
            <a:endParaRPr lang="en-US" sz="1600" b="0" i="0" dirty="0">
              <a:solidFill>
                <a:srgbClr val="0D0D0D"/>
              </a:solidFill>
              <a:effectLst/>
              <a:latin typeface="Söhne"/>
            </a:endParaRPr>
          </a:p>
          <a:p>
            <a:pPr algn="l"/>
            <a:r>
              <a:rPr lang="en-US" sz="1600" b="0" i="0" dirty="0">
                <a:solidFill>
                  <a:srgbClr val="0D0D0D"/>
                </a:solidFill>
                <a:effectLst/>
                <a:latin typeface="Söhne"/>
              </a:rPr>
              <a:t>1 Subject: Whiskers    Predicate: age     Object: 5 years</a:t>
            </a:r>
          </a:p>
          <a:p>
            <a:pPr algn="l"/>
            <a:r>
              <a:rPr lang="en-US" sz="1600" b="0" i="0" dirty="0">
                <a:solidFill>
                  <a:srgbClr val="0D0D0D"/>
                </a:solidFill>
                <a:effectLst/>
                <a:latin typeface="Söhne"/>
              </a:rPr>
              <a:t>2 Subject: Whiskers    Predicate: is an   Object: pet</a:t>
            </a:r>
          </a:p>
          <a:p>
            <a:pPr algn="l"/>
            <a:endParaRPr lang="en-US" sz="1600" b="0" i="0" dirty="0">
              <a:solidFill>
                <a:srgbClr val="0D0D0D"/>
              </a:solidFill>
              <a:effectLst/>
              <a:latin typeface="Söhne"/>
            </a:endParaRPr>
          </a:p>
          <a:p>
            <a:pPr algn="l"/>
            <a:r>
              <a:rPr lang="en-US" sz="1600" dirty="0">
                <a:solidFill>
                  <a:srgbClr val="0D0D0D"/>
                </a:solidFill>
                <a:latin typeface="Söhne"/>
              </a:rPr>
              <a:t>I</a:t>
            </a:r>
            <a:r>
              <a:rPr lang="en-US" sz="1600" b="0" i="0" dirty="0">
                <a:solidFill>
                  <a:srgbClr val="0D0D0D"/>
                </a:solidFill>
                <a:effectLst/>
                <a:latin typeface="Söhne"/>
              </a:rPr>
              <a:t>n this example, we describe with RDF triples that "Whiskers" has an age of 5 years and that he is a pet.</a:t>
            </a:r>
          </a:p>
          <a:p>
            <a:pPr algn="l"/>
            <a:endParaRPr lang="en-US" sz="1600" b="0" i="0" dirty="0">
              <a:solidFill>
                <a:srgbClr val="0D0D0D"/>
              </a:solidFill>
              <a:effectLst/>
              <a:latin typeface="Söhne"/>
            </a:endParaRPr>
          </a:p>
          <a:p>
            <a:pPr algn="l"/>
            <a:r>
              <a:rPr lang="en-US" sz="1600" b="0" i="0" dirty="0">
                <a:solidFill>
                  <a:srgbClr val="0D0D0D"/>
                </a:solidFill>
                <a:effectLst/>
                <a:latin typeface="Söhne"/>
              </a:rPr>
              <a:t>This is a simplified example, but it demonstrates how RDF is used to capture and share structured information about cats (or other subjects) on the web.</a:t>
            </a: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2000" i="1" dirty="0">
              <a:latin typeface="Calibri" panose="020F0502020204030204" pitchFamily="34" charset="0"/>
              <a:ea typeface="Calibri" panose="020F0502020204030204" pitchFamily="34" charset="0"/>
              <a:cs typeface="Times New Roman" panose="02020603050405020304" pitchFamily="18" charset="0"/>
            </a:endParaRPr>
          </a:p>
          <a:p>
            <a:endParaRPr lang="en-US" sz="2000" i="1" dirty="0">
              <a:effectLst/>
              <a:latin typeface="Calibri" panose="020F0502020204030204" pitchFamily="34" charset="0"/>
              <a:ea typeface="Calibri" panose="020F0502020204030204" pitchFamily="34" charset="0"/>
              <a:cs typeface="Times New Roman" panose="02020603050405020304" pitchFamily="18" charset="0"/>
            </a:endParaRPr>
          </a:p>
          <a:p>
            <a:endParaRPr lang="nl-NL" dirty="0"/>
          </a:p>
        </p:txBody>
      </p:sp>
      <p:sp>
        <p:nvSpPr>
          <p:cNvPr id="3" name="Tijdelijke aanduiding voor inhoud 6">
            <a:extLst>
              <a:ext uri="{FF2B5EF4-FFF2-40B4-BE49-F238E27FC236}">
                <a16:creationId xmlns:a16="http://schemas.microsoft.com/office/drawing/2014/main" id="{6D4D8CBC-C048-05BA-A92A-FF4531F28891}"/>
              </a:ext>
            </a:extLst>
          </p:cNvPr>
          <p:cNvSpPr txBox="1">
            <a:spLocks/>
          </p:cNvSpPr>
          <p:nvPr/>
        </p:nvSpPr>
        <p:spPr>
          <a:xfrm>
            <a:off x="10084378" y="5595730"/>
            <a:ext cx="1182175" cy="126227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sz="200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80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60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40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None/>
            </a:pPr>
            <a:r>
              <a:rPr lang="nl-NL" dirty="0" err="1">
                <a:latin typeface="Söhne"/>
              </a:rPr>
              <a:t>chatgpt</a:t>
            </a:r>
            <a:endParaRPr lang="nl-NL" dirty="0">
              <a:latin typeface="Söhne"/>
            </a:endParaRPr>
          </a:p>
          <a:p>
            <a:endParaRPr lang="nl-NL" dirty="0"/>
          </a:p>
        </p:txBody>
      </p:sp>
      <p:pic>
        <p:nvPicPr>
          <p:cNvPr id="9" name="Afbeelding 8">
            <a:extLst>
              <a:ext uri="{FF2B5EF4-FFF2-40B4-BE49-F238E27FC236}">
                <a16:creationId xmlns:a16="http://schemas.microsoft.com/office/drawing/2014/main" id="{54390E85-FE64-2041-F494-597304B81989}"/>
              </a:ext>
            </a:extLst>
          </p:cNvPr>
          <p:cNvPicPr>
            <a:picLocks noChangeAspect="1"/>
          </p:cNvPicPr>
          <p:nvPr/>
        </p:nvPicPr>
        <p:blipFill>
          <a:blip r:embed="rId3"/>
          <a:stretch>
            <a:fillRect/>
          </a:stretch>
        </p:blipFill>
        <p:spPr>
          <a:xfrm>
            <a:off x="9361714" y="3091528"/>
            <a:ext cx="2143608" cy="1874606"/>
          </a:xfrm>
          <a:prstGeom prst="rect">
            <a:avLst/>
          </a:prstGeom>
        </p:spPr>
      </p:pic>
    </p:spTree>
    <p:extLst>
      <p:ext uri="{BB962C8B-B14F-4D97-AF65-F5344CB8AC3E}">
        <p14:creationId xmlns:p14="http://schemas.microsoft.com/office/powerpoint/2010/main" val="5709745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err="1"/>
              <a:t>What</a:t>
            </a:r>
            <a:r>
              <a:rPr lang="nl-NL" dirty="0"/>
              <a:t> is SPARQL ?</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4" name="Tekstvak 3">
            <a:extLst>
              <a:ext uri="{FF2B5EF4-FFF2-40B4-BE49-F238E27FC236}">
                <a16:creationId xmlns:a16="http://schemas.microsoft.com/office/drawing/2014/main" id="{0D450E02-4A61-8A4F-DFCB-076C0CA610BB}"/>
              </a:ext>
            </a:extLst>
          </p:cNvPr>
          <p:cNvSpPr txBox="1"/>
          <p:nvPr/>
        </p:nvSpPr>
        <p:spPr>
          <a:xfrm>
            <a:off x="914978" y="992094"/>
            <a:ext cx="10164539" cy="4801314"/>
          </a:xfrm>
          <a:prstGeom prst="rect">
            <a:avLst/>
          </a:prstGeom>
          <a:noFill/>
        </p:spPr>
        <p:txBody>
          <a:bodyPr wrap="square" rtlCol="0">
            <a:spAutoFit/>
          </a:bodyPr>
          <a:lstStyle/>
          <a:p>
            <a:pPr algn="l"/>
            <a:br>
              <a:rPr lang="nl-NL" sz="2000" b="0" i="0" dirty="0">
                <a:solidFill>
                  <a:srgbClr val="0D0D0D"/>
                </a:solidFill>
                <a:effectLst/>
                <a:latin typeface="Söhne"/>
              </a:rPr>
            </a:br>
            <a:br>
              <a:rPr lang="nl-NL" sz="1600" b="0" i="0" dirty="0">
                <a:solidFill>
                  <a:srgbClr val="0D0D0D"/>
                </a:solidFill>
                <a:effectLst/>
                <a:latin typeface="Söhne"/>
              </a:rPr>
            </a:br>
            <a:r>
              <a:rPr lang="en-US" sz="1600" b="0" i="0" dirty="0">
                <a:solidFill>
                  <a:srgbClr val="0D0D0D"/>
                </a:solidFill>
                <a:effectLst/>
                <a:latin typeface="Söhne"/>
              </a:rPr>
              <a:t>Here's the translation:</a:t>
            </a:r>
          </a:p>
          <a:p>
            <a:pPr algn="l"/>
            <a:endParaRPr lang="en-US" sz="1600" b="0" i="0" dirty="0">
              <a:solidFill>
                <a:srgbClr val="0D0D0D"/>
              </a:solidFill>
              <a:effectLst/>
              <a:latin typeface="Söhne"/>
            </a:endParaRPr>
          </a:p>
          <a:p>
            <a:pPr algn="l"/>
            <a:r>
              <a:rPr lang="en-US" sz="1600" b="0" i="0" dirty="0">
                <a:solidFill>
                  <a:srgbClr val="0D0D0D"/>
                </a:solidFill>
                <a:effectLst/>
                <a:latin typeface="Söhne"/>
              </a:rPr>
              <a:t>SPARQL stands for SPARQL Protocol and RDF Query Language. It is a powerful query language used to retrieve and manipulate data stored in the RDF format (Resource Description Framework). RDF is widely used within Linked Data to represent and share information in a standardized way on the web.</a:t>
            </a:r>
          </a:p>
          <a:p>
            <a:pPr algn="l"/>
            <a:endParaRPr lang="en-US" sz="1600" b="0" i="0" dirty="0">
              <a:solidFill>
                <a:srgbClr val="0D0D0D"/>
              </a:solidFill>
              <a:effectLst/>
              <a:latin typeface="Söhne"/>
            </a:endParaRPr>
          </a:p>
          <a:p>
            <a:pPr algn="l"/>
            <a:r>
              <a:rPr lang="en-US" sz="1600" b="0" i="0" dirty="0">
                <a:solidFill>
                  <a:srgbClr val="0D0D0D"/>
                </a:solidFill>
                <a:effectLst/>
                <a:latin typeface="Söhne"/>
              </a:rPr>
              <a:t>With SPARQL, users can pose complex questions about RDF datasets. These queries can range from simple pattern matching to complex searches involving filters, aggregations, and advanced logic. SPARQL is designed to be flexible and able to handle the various ways RDF data can be modeled.</a:t>
            </a:r>
          </a:p>
          <a:p>
            <a:pPr algn="l"/>
            <a:endParaRPr lang="en-US" sz="1600" b="0" i="0" dirty="0">
              <a:solidFill>
                <a:srgbClr val="0D0D0D"/>
              </a:solidFill>
              <a:effectLst/>
              <a:latin typeface="Söhne"/>
            </a:endParaRPr>
          </a:p>
          <a:p>
            <a:pPr algn="l"/>
            <a:r>
              <a:rPr lang="en-US" sz="1600" b="0" i="0" dirty="0">
                <a:solidFill>
                  <a:srgbClr val="0D0D0D"/>
                </a:solidFill>
                <a:effectLst/>
                <a:latin typeface="Söhne"/>
              </a:rPr>
              <a:t>The protocol aspect of SPARQL enables the execution of SPARQL queries via HTTP and other network protocols, making it an important component of the Linked Data infrastructure for sharing and querying data across the web.</a:t>
            </a: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2000" i="1" dirty="0">
              <a:latin typeface="Calibri" panose="020F0502020204030204" pitchFamily="34" charset="0"/>
              <a:ea typeface="Calibri" panose="020F0502020204030204" pitchFamily="34" charset="0"/>
              <a:cs typeface="Times New Roman" panose="02020603050405020304" pitchFamily="18" charset="0"/>
            </a:endParaRPr>
          </a:p>
          <a:p>
            <a:endParaRPr lang="en-US" sz="2000" i="1" dirty="0">
              <a:effectLst/>
              <a:latin typeface="Calibri" panose="020F0502020204030204" pitchFamily="34" charset="0"/>
              <a:ea typeface="Calibri" panose="020F0502020204030204" pitchFamily="34" charset="0"/>
              <a:cs typeface="Times New Roman" panose="02020603050405020304" pitchFamily="18" charset="0"/>
            </a:endParaRPr>
          </a:p>
          <a:p>
            <a:endParaRPr lang="nl-NL" dirty="0"/>
          </a:p>
        </p:txBody>
      </p:sp>
      <p:sp>
        <p:nvSpPr>
          <p:cNvPr id="3" name="Tijdelijke aanduiding voor inhoud 6">
            <a:extLst>
              <a:ext uri="{FF2B5EF4-FFF2-40B4-BE49-F238E27FC236}">
                <a16:creationId xmlns:a16="http://schemas.microsoft.com/office/drawing/2014/main" id="{6D4D8CBC-C048-05BA-A92A-FF4531F28891}"/>
              </a:ext>
            </a:extLst>
          </p:cNvPr>
          <p:cNvSpPr txBox="1">
            <a:spLocks/>
          </p:cNvSpPr>
          <p:nvPr/>
        </p:nvSpPr>
        <p:spPr>
          <a:xfrm>
            <a:off x="10084378" y="5595730"/>
            <a:ext cx="1182175" cy="126227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sz="200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80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60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40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None/>
            </a:pPr>
            <a:r>
              <a:rPr lang="nl-NL" dirty="0" err="1">
                <a:latin typeface="Söhne"/>
              </a:rPr>
              <a:t>chatgpt</a:t>
            </a:r>
            <a:endParaRPr lang="nl-NL" dirty="0">
              <a:latin typeface="Söhne"/>
            </a:endParaRPr>
          </a:p>
          <a:p>
            <a:endParaRPr lang="nl-NL" dirty="0"/>
          </a:p>
        </p:txBody>
      </p:sp>
    </p:spTree>
    <p:extLst>
      <p:ext uri="{BB962C8B-B14F-4D97-AF65-F5344CB8AC3E}">
        <p14:creationId xmlns:p14="http://schemas.microsoft.com/office/powerpoint/2010/main" val="24185870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err="1"/>
              <a:t>What</a:t>
            </a:r>
            <a:r>
              <a:rPr lang="nl-NL" dirty="0"/>
              <a:t> is SPARQL ?</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4" name="Tekstvak 3">
            <a:extLst>
              <a:ext uri="{FF2B5EF4-FFF2-40B4-BE49-F238E27FC236}">
                <a16:creationId xmlns:a16="http://schemas.microsoft.com/office/drawing/2014/main" id="{0D450E02-4A61-8A4F-DFCB-076C0CA610BB}"/>
              </a:ext>
            </a:extLst>
          </p:cNvPr>
          <p:cNvSpPr txBox="1"/>
          <p:nvPr/>
        </p:nvSpPr>
        <p:spPr>
          <a:xfrm>
            <a:off x="914978" y="992094"/>
            <a:ext cx="10164539" cy="6740307"/>
          </a:xfrm>
          <a:prstGeom prst="rect">
            <a:avLst/>
          </a:prstGeom>
          <a:noFill/>
        </p:spPr>
        <p:txBody>
          <a:bodyPr wrap="square" rtlCol="0">
            <a:spAutoFit/>
          </a:bodyPr>
          <a:lstStyle/>
          <a:p>
            <a:pPr algn="l"/>
            <a:br>
              <a:rPr lang="nl-NL" sz="2000" b="0" i="0" dirty="0">
                <a:solidFill>
                  <a:srgbClr val="0D0D0D"/>
                </a:solidFill>
                <a:effectLst/>
                <a:latin typeface="Söhne"/>
              </a:rPr>
            </a:br>
            <a:r>
              <a:rPr lang="en-US" sz="1400" b="0" i="0" dirty="0">
                <a:solidFill>
                  <a:srgbClr val="0D0D0D"/>
                </a:solidFill>
                <a:effectLst/>
                <a:latin typeface="Söhne"/>
              </a:rPr>
              <a:t>Let's say we have an RDF dataset containing information about various pets, including cats. Let's assume the dataset contains triples that include the names, ages, and types of pets for different animals. Here is an example of such an RDF triple:</a:t>
            </a:r>
          </a:p>
          <a:p>
            <a:pPr algn="l"/>
            <a:endParaRPr lang="nl-NL" sz="1600" b="0" i="0" dirty="0">
              <a:solidFill>
                <a:srgbClr val="FF0000"/>
              </a:solidFill>
              <a:effectLst/>
              <a:latin typeface="Söhne"/>
            </a:endParaRPr>
          </a:p>
          <a:p>
            <a:pPr algn="l"/>
            <a:r>
              <a:rPr lang="en-US" sz="1200" b="0" i="0" dirty="0">
                <a:solidFill>
                  <a:srgbClr val="FF0000"/>
                </a:solidFill>
                <a:effectLst/>
                <a:latin typeface="Söhne"/>
              </a:rPr>
              <a:t>&lt;http://example.org/whiskers&gt; &lt;http://example.org/hasName&gt; "Whiskers" .</a:t>
            </a:r>
          </a:p>
          <a:p>
            <a:pPr algn="l"/>
            <a:r>
              <a:rPr lang="en-US" sz="1200" b="0" i="0" dirty="0">
                <a:solidFill>
                  <a:srgbClr val="FF0000"/>
                </a:solidFill>
                <a:effectLst/>
                <a:latin typeface="Söhne"/>
              </a:rPr>
              <a:t>&lt;http://example.org/whiskers&gt; &lt;http://example.org/hasAge&gt; "5"^^&lt;http://www.w3.org/2001/XMLSchema#integer&gt; .</a:t>
            </a:r>
          </a:p>
          <a:p>
            <a:pPr algn="l"/>
            <a:r>
              <a:rPr lang="en-US" sz="1200" b="0" i="0" dirty="0">
                <a:solidFill>
                  <a:srgbClr val="FF0000"/>
                </a:solidFill>
                <a:effectLst/>
                <a:latin typeface="Söhne"/>
              </a:rPr>
              <a:t>&lt;http://example.org/whiskers&gt; &lt;http://example.org/isPetOfType&gt; "cat" .</a:t>
            </a:r>
          </a:p>
          <a:p>
            <a:pPr algn="l"/>
            <a:endParaRPr lang="en-US" sz="1600" dirty="0">
              <a:solidFill>
                <a:srgbClr val="0D0D0D"/>
              </a:solidFill>
              <a:latin typeface="Söhne"/>
            </a:endParaRPr>
          </a:p>
          <a:p>
            <a:pPr algn="l"/>
            <a:r>
              <a:rPr lang="en-US" sz="1400" b="0" i="0" dirty="0">
                <a:solidFill>
                  <a:srgbClr val="0D0D0D"/>
                </a:solidFill>
                <a:effectLst/>
                <a:latin typeface="Söhne"/>
              </a:rPr>
              <a:t>Now, let's write a SPARQL query to retrieve the names of all the cats in the dataset.</a:t>
            </a:r>
            <a:br>
              <a:rPr lang="en-US" sz="1400" b="0" i="0" dirty="0">
                <a:solidFill>
                  <a:srgbClr val="0D0D0D"/>
                </a:solidFill>
                <a:effectLst/>
                <a:latin typeface="Söhne"/>
              </a:rPr>
            </a:br>
            <a:r>
              <a:rPr lang="en-US" sz="1600" dirty="0">
                <a:solidFill>
                  <a:srgbClr val="0D0D0D"/>
                </a:solidFill>
                <a:latin typeface="Söhne"/>
              </a:rPr>
              <a:t>----------------------------------------------------------------------------------------------</a:t>
            </a:r>
          </a:p>
          <a:p>
            <a:pPr algn="l"/>
            <a:r>
              <a:rPr lang="en-US" sz="1400" b="0" i="0" dirty="0">
                <a:solidFill>
                  <a:srgbClr val="FF0000"/>
                </a:solidFill>
                <a:effectLst/>
                <a:latin typeface="Söhne"/>
              </a:rPr>
              <a:t>PREFIX ex: &lt;http://example.org/&gt;</a:t>
            </a:r>
          </a:p>
          <a:p>
            <a:pPr algn="l"/>
            <a:endParaRPr lang="en-US" sz="1400" b="0" i="0" dirty="0">
              <a:solidFill>
                <a:srgbClr val="FF0000"/>
              </a:solidFill>
              <a:effectLst/>
              <a:latin typeface="Söhne"/>
            </a:endParaRPr>
          </a:p>
          <a:p>
            <a:pPr algn="l"/>
            <a:r>
              <a:rPr lang="en-US" sz="1400" b="0" i="0" dirty="0">
                <a:solidFill>
                  <a:srgbClr val="FF0000"/>
                </a:solidFill>
                <a:effectLst/>
                <a:latin typeface="Söhne"/>
              </a:rPr>
              <a:t>SELECT ?name</a:t>
            </a:r>
          </a:p>
          <a:p>
            <a:pPr algn="l"/>
            <a:r>
              <a:rPr lang="en-US" sz="1400" b="0" i="0" dirty="0">
                <a:solidFill>
                  <a:srgbClr val="FF0000"/>
                </a:solidFill>
                <a:effectLst/>
                <a:latin typeface="Söhne"/>
              </a:rPr>
              <a:t>WHERE {</a:t>
            </a:r>
          </a:p>
          <a:p>
            <a:pPr algn="l"/>
            <a:r>
              <a:rPr lang="en-US" sz="1400" b="0" i="0" dirty="0">
                <a:solidFill>
                  <a:srgbClr val="FF0000"/>
                </a:solidFill>
                <a:effectLst/>
                <a:latin typeface="Söhne"/>
              </a:rPr>
              <a:t>  ?cat </a:t>
            </a:r>
            <a:r>
              <a:rPr lang="en-US" sz="1400" b="0" i="0" dirty="0" err="1">
                <a:solidFill>
                  <a:srgbClr val="FF0000"/>
                </a:solidFill>
                <a:effectLst/>
                <a:latin typeface="Söhne"/>
              </a:rPr>
              <a:t>ex:hasName</a:t>
            </a:r>
            <a:r>
              <a:rPr lang="en-US" sz="1400" b="0" i="0" dirty="0">
                <a:solidFill>
                  <a:srgbClr val="FF0000"/>
                </a:solidFill>
                <a:effectLst/>
                <a:latin typeface="Söhne"/>
              </a:rPr>
              <a:t> ?name .</a:t>
            </a:r>
          </a:p>
          <a:p>
            <a:pPr algn="l"/>
            <a:r>
              <a:rPr lang="en-US" sz="1400" b="0" i="0" dirty="0">
                <a:solidFill>
                  <a:srgbClr val="FF0000"/>
                </a:solidFill>
                <a:effectLst/>
                <a:latin typeface="Söhne"/>
              </a:rPr>
              <a:t>  ?cat </a:t>
            </a:r>
            <a:r>
              <a:rPr lang="en-US" sz="1400" b="0" i="0" dirty="0" err="1">
                <a:solidFill>
                  <a:srgbClr val="FF0000"/>
                </a:solidFill>
                <a:effectLst/>
                <a:latin typeface="Söhne"/>
              </a:rPr>
              <a:t>ex:isPetOfType</a:t>
            </a:r>
            <a:r>
              <a:rPr lang="en-US" sz="1400" b="0" i="0" dirty="0">
                <a:solidFill>
                  <a:srgbClr val="FF0000"/>
                </a:solidFill>
                <a:effectLst/>
                <a:latin typeface="Söhne"/>
              </a:rPr>
              <a:t> "cat" .</a:t>
            </a:r>
          </a:p>
          <a:p>
            <a:pPr algn="l"/>
            <a:r>
              <a:rPr lang="en-US" sz="1400" b="0" i="0" dirty="0">
                <a:solidFill>
                  <a:srgbClr val="FF0000"/>
                </a:solidFill>
                <a:effectLst/>
                <a:latin typeface="Söhne"/>
              </a:rPr>
              <a:t>}</a:t>
            </a:r>
          </a:p>
          <a:p>
            <a:pPr algn="l"/>
            <a:r>
              <a:rPr lang="en-US" sz="1600" dirty="0">
                <a:solidFill>
                  <a:srgbClr val="0D0D0D"/>
                </a:solidFill>
                <a:latin typeface="Söhne"/>
              </a:rPr>
              <a:t>----------------------------------------------------------------------</a:t>
            </a:r>
          </a:p>
          <a:p>
            <a:pPr algn="l"/>
            <a:r>
              <a:rPr lang="en-US" sz="1400" b="0" i="0" dirty="0">
                <a:solidFill>
                  <a:srgbClr val="0D0D0D"/>
                </a:solidFill>
                <a:effectLst/>
                <a:latin typeface="Söhne"/>
              </a:rPr>
              <a:t>This SPARQL query looks for triples where the object is "cat" and then retrieves the names of the cats. The PREFIX statement is used to create an abbreviation for the URI prefix "</a:t>
            </a:r>
            <a:r>
              <a:rPr lang="en-US" sz="1400" b="0" i="0" u="none" strike="noStrike" dirty="0">
                <a:effectLst/>
                <a:latin typeface="Söhne"/>
                <a:hlinkClick r:id="rId3"/>
              </a:rPr>
              <a:t>http://example.org/</a:t>
            </a:r>
            <a:r>
              <a:rPr lang="en-US" sz="1400" b="0" i="0" dirty="0">
                <a:solidFill>
                  <a:srgbClr val="0D0D0D"/>
                </a:solidFill>
                <a:effectLst/>
                <a:latin typeface="Söhne"/>
              </a:rPr>
              <a:t>", making it easier to reference the properties in the query. When we execute this query on the RDF dataset, we will get the names of all the cats included in the dataset.</a:t>
            </a:r>
            <a:endParaRPr lang="en-US" sz="1600" b="0" i="0" dirty="0">
              <a:solidFill>
                <a:srgbClr val="0D0D0D"/>
              </a:solidFill>
              <a:effectLst/>
              <a:latin typeface="Söhne"/>
            </a:endParaRPr>
          </a:p>
          <a:p>
            <a:pPr algn="l"/>
            <a:endParaRPr lang="en-US" sz="1600" b="0" i="0" dirty="0">
              <a:solidFill>
                <a:srgbClr val="0D0D0D"/>
              </a:solidFill>
              <a:effectLst/>
              <a:latin typeface="Söhne"/>
            </a:endParaRPr>
          </a:p>
          <a:p>
            <a:pPr algn="l"/>
            <a:endParaRPr lang="nl-NL" sz="1600" b="0" i="0" dirty="0">
              <a:solidFill>
                <a:srgbClr val="0D0D0D"/>
              </a:solidFill>
              <a:effectLst/>
              <a:latin typeface="Söhne"/>
            </a:endParaRPr>
          </a:p>
          <a:p>
            <a:pPr algn="l"/>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2000" i="1" dirty="0">
              <a:latin typeface="Calibri" panose="020F0502020204030204" pitchFamily="34" charset="0"/>
              <a:ea typeface="Calibri" panose="020F0502020204030204" pitchFamily="34" charset="0"/>
              <a:cs typeface="Times New Roman" panose="02020603050405020304" pitchFamily="18" charset="0"/>
            </a:endParaRPr>
          </a:p>
          <a:p>
            <a:endParaRPr lang="en-US" sz="2000" i="1" dirty="0">
              <a:effectLst/>
              <a:latin typeface="Calibri" panose="020F0502020204030204" pitchFamily="34" charset="0"/>
              <a:ea typeface="Calibri" panose="020F0502020204030204" pitchFamily="34" charset="0"/>
              <a:cs typeface="Times New Roman" panose="02020603050405020304" pitchFamily="18" charset="0"/>
            </a:endParaRPr>
          </a:p>
          <a:p>
            <a:endParaRPr lang="nl-NL" dirty="0"/>
          </a:p>
        </p:txBody>
      </p:sp>
      <p:sp>
        <p:nvSpPr>
          <p:cNvPr id="3" name="Tijdelijke aanduiding voor inhoud 6">
            <a:extLst>
              <a:ext uri="{FF2B5EF4-FFF2-40B4-BE49-F238E27FC236}">
                <a16:creationId xmlns:a16="http://schemas.microsoft.com/office/drawing/2014/main" id="{6D4D8CBC-C048-05BA-A92A-FF4531F28891}"/>
              </a:ext>
            </a:extLst>
          </p:cNvPr>
          <p:cNvSpPr txBox="1">
            <a:spLocks/>
          </p:cNvSpPr>
          <p:nvPr/>
        </p:nvSpPr>
        <p:spPr>
          <a:xfrm>
            <a:off x="10084378" y="5595730"/>
            <a:ext cx="1182175" cy="126227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sz="200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80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60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40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None/>
            </a:pPr>
            <a:r>
              <a:rPr lang="nl-NL" dirty="0" err="1">
                <a:latin typeface="Söhne"/>
              </a:rPr>
              <a:t>chatgpt</a:t>
            </a:r>
            <a:endParaRPr lang="nl-NL" dirty="0">
              <a:latin typeface="Söhne"/>
            </a:endParaRPr>
          </a:p>
          <a:p>
            <a:endParaRPr lang="nl-NL" dirty="0"/>
          </a:p>
        </p:txBody>
      </p:sp>
      <p:pic>
        <p:nvPicPr>
          <p:cNvPr id="8" name="Afbeelding 7">
            <a:extLst>
              <a:ext uri="{FF2B5EF4-FFF2-40B4-BE49-F238E27FC236}">
                <a16:creationId xmlns:a16="http://schemas.microsoft.com/office/drawing/2014/main" id="{B0E8AECE-ECFB-ADA0-E2E8-F46B6C2DC738}"/>
              </a:ext>
            </a:extLst>
          </p:cNvPr>
          <p:cNvPicPr>
            <a:picLocks noChangeAspect="1"/>
          </p:cNvPicPr>
          <p:nvPr/>
        </p:nvPicPr>
        <p:blipFill>
          <a:blip r:embed="rId4"/>
          <a:stretch>
            <a:fillRect/>
          </a:stretch>
        </p:blipFill>
        <p:spPr>
          <a:xfrm>
            <a:off x="9498520" y="2596732"/>
            <a:ext cx="1580997" cy="2656360"/>
          </a:xfrm>
          <a:prstGeom prst="rect">
            <a:avLst/>
          </a:prstGeom>
        </p:spPr>
      </p:pic>
    </p:spTree>
    <p:extLst>
      <p:ext uri="{BB962C8B-B14F-4D97-AF65-F5344CB8AC3E}">
        <p14:creationId xmlns:p14="http://schemas.microsoft.com/office/powerpoint/2010/main" val="22160687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EECF1F-3A3A-48A9-AF99-34EA2FE500E0}"/>
              </a:ext>
            </a:extLst>
          </p:cNvPr>
          <p:cNvSpPr>
            <a:spLocks noGrp="1"/>
          </p:cNvSpPr>
          <p:nvPr>
            <p:ph type="title"/>
          </p:nvPr>
        </p:nvSpPr>
        <p:spPr/>
        <p:txBody>
          <a:bodyPr/>
          <a:lstStyle/>
          <a:p>
            <a:r>
              <a:rPr lang="nl-NL" dirty="0" err="1"/>
              <a:t>What</a:t>
            </a:r>
            <a:r>
              <a:rPr lang="nl-NL" dirty="0"/>
              <a:t> is SHACL ?</a:t>
            </a:r>
          </a:p>
        </p:txBody>
      </p:sp>
      <p:sp>
        <p:nvSpPr>
          <p:cNvPr id="31" name="Tijdelijke aanduiding voor inhoud 6">
            <a:extLst>
              <a:ext uri="{FF2B5EF4-FFF2-40B4-BE49-F238E27FC236}">
                <a16:creationId xmlns:a16="http://schemas.microsoft.com/office/drawing/2014/main" id="{38A2A9EE-75E8-49F9-EBD2-15C6298FC791}"/>
              </a:ext>
            </a:extLst>
          </p:cNvPr>
          <p:cNvSpPr txBox="1">
            <a:spLocks/>
          </p:cNvSpPr>
          <p:nvPr/>
        </p:nvSpPr>
        <p:spPr>
          <a:xfrm>
            <a:off x="1481492" y="1294394"/>
            <a:ext cx="9598025" cy="501015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lang="en-US" sz="2000" b="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800" b="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600" b="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US" sz="1400" b="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lang="en-GB" sz="1200" b="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Font typeface="Wingdings" panose="05000000000000000000" pitchFamily="2" charset="2"/>
              <a:buNone/>
            </a:pPr>
            <a:endParaRPr lang="nl-NL" dirty="0"/>
          </a:p>
        </p:txBody>
      </p:sp>
      <p:sp>
        <p:nvSpPr>
          <p:cNvPr id="4" name="Tekstvak 3">
            <a:extLst>
              <a:ext uri="{FF2B5EF4-FFF2-40B4-BE49-F238E27FC236}">
                <a16:creationId xmlns:a16="http://schemas.microsoft.com/office/drawing/2014/main" id="{0D450E02-4A61-8A4F-DFCB-076C0CA610BB}"/>
              </a:ext>
            </a:extLst>
          </p:cNvPr>
          <p:cNvSpPr txBox="1"/>
          <p:nvPr/>
        </p:nvSpPr>
        <p:spPr>
          <a:xfrm>
            <a:off x="1013730" y="1086919"/>
            <a:ext cx="10164539" cy="3539430"/>
          </a:xfrm>
          <a:prstGeom prst="rect">
            <a:avLst/>
          </a:prstGeom>
          <a:noFill/>
        </p:spPr>
        <p:txBody>
          <a:bodyPr wrap="square" rtlCol="0">
            <a:spAutoFit/>
          </a:bodyPr>
          <a:lstStyle/>
          <a:p>
            <a:pPr algn="l"/>
            <a:br>
              <a:rPr lang="nl-NL" sz="1600" b="0" i="0" dirty="0">
                <a:solidFill>
                  <a:srgbClr val="0D0D0D"/>
                </a:solidFill>
                <a:effectLst/>
                <a:latin typeface="Söhne"/>
              </a:rPr>
            </a:br>
            <a:r>
              <a:rPr lang="en-US" sz="1600" b="0" i="0" dirty="0">
                <a:solidFill>
                  <a:srgbClr val="0D0D0D"/>
                </a:solidFill>
                <a:effectLst/>
                <a:latin typeface="Söhne"/>
              </a:rPr>
              <a:t>SHACL stands for "Shapes Constraint Language" and is a W3C standard for validating RDF data against specified schemas, also known as "shapes."</a:t>
            </a:r>
          </a:p>
          <a:p>
            <a:pPr algn="l"/>
            <a:endParaRPr lang="en-US" sz="1600" b="0" i="0" dirty="0">
              <a:solidFill>
                <a:srgbClr val="0D0D0D"/>
              </a:solidFill>
              <a:effectLst/>
              <a:latin typeface="Söhne"/>
            </a:endParaRPr>
          </a:p>
          <a:p>
            <a:pPr algn="l"/>
            <a:r>
              <a:rPr lang="en-US" sz="1600" b="0" i="0" dirty="0">
                <a:solidFill>
                  <a:srgbClr val="0D0D0D"/>
                </a:solidFill>
                <a:effectLst/>
                <a:latin typeface="Söhne"/>
              </a:rPr>
              <a:t>With SHACL, developers can create detailed specifications on how RDF data should be structured and what constraints apply to the values of properties. These specifications can indicate, among other things, which properties are mandatory, what values these properties can assume, how many repetitions of a property are allowed, and so on.</a:t>
            </a:r>
          </a:p>
          <a:p>
            <a:pPr algn="l"/>
            <a:endParaRPr lang="en-US" sz="1600" b="0" i="0" dirty="0">
              <a:solidFill>
                <a:srgbClr val="0D0D0D"/>
              </a:solidFill>
              <a:effectLst/>
              <a:latin typeface="Söhne"/>
            </a:endParaRPr>
          </a:p>
          <a:p>
            <a:pPr algn="l"/>
            <a:r>
              <a:rPr lang="en-US" sz="1600" b="0" i="0" dirty="0">
                <a:solidFill>
                  <a:srgbClr val="0D0D0D"/>
                </a:solidFill>
                <a:effectLst/>
                <a:latin typeface="Söhne"/>
              </a:rPr>
              <a:t>SHACL schemas are themselves modeled as RDF data and can be used to improve the quality and consistency of RDF data. By validating data against SHACL shapes, developers can ensure that the published data meets the desired criteria and enables interoperability between different data sources.</a:t>
            </a:r>
          </a:p>
          <a:p>
            <a:pPr algn="l"/>
            <a:endParaRPr lang="en-US" sz="1600" b="0" i="0" dirty="0">
              <a:solidFill>
                <a:srgbClr val="0D0D0D"/>
              </a:solidFill>
              <a:effectLst/>
              <a:latin typeface="Söhne"/>
            </a:endParaRPr>
          </a:p>
          <a:p>
            <a:pPr algn="l"/>
            <a:r>
              <a:rPr lang="en-US" sz="1600" b="0" i="0" dirty="0">
                <a:solidFill>
                  <a:srgbClr val="0D0D0D"/>
                </a:solidFill>
                <a:effectLst/>
                <a:latin typeface="Söhne"/>
              </a:rPr>
              <a:t>In short, SHACL is an important tool within the Linked Data ecosystem, allowing developers to ensure the quality and consistency of RDF data.</a:t>
            </a:r>
            <a:endParaRPr lang="nl-NL" sz="1600" b="0" i="0" dirty="0">
              <a:solidFill>
                <a:srgbClr val="0D0D0D"/>
              </a:solidFill>
              <a:effectLst/>
              <a:latin typeface="Söhne"/>
            </a:endParaRPr>
          </a:p>
        </p:txBody>
      </p:sp>
      <p:sp>
        <p:nvSpPr>
          <p:cNvPr id="3" name="Tijdelijke aanduiding voor inhoud 6">
            <a:extLst>
              <a:ext uri="{FF2B5EF4-FFF2-40B4-BE49-F238E27FC236}">
                <a16:creationId xmlns:a16="http://schemas.microsoft.com/office/drawing/2014/main" id="{6D4D8CBC-C048-05BA-A92A-FF4531F28891}"/>
              </a:ext>
            </a:extLst>
          </p:cNvPr>
          <p:cNvSpPr txBox="1">
            <a:spLocks/>
          </p:cNvSpPr>
          <p:nvPr/>
        </p:nvSpPr>
        <p:spPr>
          <a:xfrm>
            <a:off x="10084378" y="5595730"/>
            <a:ext cx="1182175" cy="1262270"/>
          </a:xfrm>
          <a:prstGeom prst="rect">
            <a:avLst/>
          </a:prstGeom>
        </p:spPr>
        <p:txBody>
          <a:bodyPr vert="horz" lIns="91440" tIns="45720" rIns="91440" bIns="45720" rtlCol="0" anchor="ctr">
            <a:normAutofit/>
          </a:bodyPr>
          <a:lstStyle>
            <a:lvl1pPr marL="344488" indent="-344488" algn="l" defTabSz="914400" rtl="0" eaLnBrk="1" latinLnBrk="0" hangingPunct="1">
              <a:lnSpc>
                <a:spcPct val="120000"/>
              </a:lnSpc>
              <a:spcBef>
                <a:spcPts val="1000"/>
              </a:spcBef>
              <a:spcAft>
                <a:spcPts val="600"/>
              </a:spcAft>
              <a:buClr>
                <a:schemeClr val="accent6"/>
              </a:buClr>
              <a:buSzPct val="90000"/>
              <a:buFont typeface="Wingdings" panose="05000000000000000000" pitchFamily="2" charset="2"/>
              <a:buChar char="§"/>
              <a:defRPr sz="2000" kern="1200">
                <a:solidFill>
                  <a:schemeClr val="tx1"/>
                </a:solidFill>
                <a:effectLst/>
                <a:latin typeface="+mn-lt"/>
                <a:ea typeface="+mn-ea"/>
                <a:cs typeface="+mn-cs"/>
              </a:defRPr>
            </a:lvl1pPr>
            <a:lvl2pPr marL="7953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800" kern="1200">
                <a:solidFill>
                  <a:schemeClr val="tx1"/>
                </a:solidFill>
                <a:effectLst/>
                <a:latin typeface="+mn-lt"/>
                <a:ea typeface="+mn-ea"/>
                <a:cs typeface="+mn-cs"/>
              </a:defRPr>
            </a:lvl2pPr>
            <a:lvl3pPr marL="12588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600" kern="1200">
                <a:solidFill>
                  <a:schemeClr val="tx1"/>
                </a:solidFill>
                <a:effectLst/>
                <a:latin typeface="+mn-lt"/>
                <a:ea typeface="+mn-ea"/>
                <a:cs typeface="+mn-cs"/>
              </a:defRPr>
            </a:lvl3pPr>
            <a:lvl4pPr marL="1709738" indent="-33813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400" kern="1200">
                <a:solidFill>
                  <a:schemeClr val="tx1"/>
                </a:solidFill>
                <a:effectLst/>
                <a:latin typeface="+mn-lt"/>
                <a:ea typeface="+mn-ea"/>
                <a:cs typeface="+mn-cs"/>
              </a:defRPr>
            </a:lvl4pPr>
            <a:lvl5pPr marL="2173288" indent="-34448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a:solidFill>
                  <a:schemeClr val="tx1"/>
                </a:solidFill>
                <a:effectLst/>
                <a:latin typeface="+mn-lt"/>
                <a:ea typeface="+mn-ea"/>
                <a:cs typeface="+mn-cs"/>
              </a:defRPr>
            </a:lvl5pPr>
            <a:lvl6pPr marL="2642616"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6pPr>
            <a:lvl7pPr marL="3108960"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7pPr>
            <a:lvl8pPr marL="3575304"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8pPr>
            <a:lvl9pPr marL="4041648" indent="-338328" algn="l" defTabSz="914400" rtl="0" eaLnBrk="1" latinLnBrk="0" hangingPunct="1">
              <a:lnSpc>
                <a:spcPct val="120000"/>
              </a:lnSpc>
              <a:spcBef>
                <a:spcPts val="500"/>
              </a:spcBef>
              <a:spcAft>
                <a:spcPts val="600"/>
              </a:spcAft>
              <a:buClr>
                <a:schemeClr val="accent6"/>
              </a:buClr>
              <a:buSzPct val="90000"/>
              <a:buFont typeface="Wingdings" panose="05000000000000000000" pitchFamily="2" charset="2"/>
              <a:buChar char="§"/>
              <a:defRPr sz="1200" kern="1200" baseline="0">
                <a:solidFill>
                  <a:schemeClr val="tx1"/>
                </a:solidFill>
                <a:effectLst/>
                <a:latin typeface="+mn-lt"/>
                <a:ea typeface="+mn-ea"/>
                <a:cs typeface="+mn-cs"/>
              </a:defRPr>
            </a:lvl9pPr>
          </a:lstStyle>
          <a:p>
            <a:pPr marL="0" indent="0">
              <a:buNone/>
            </a:pPr>
            <a:r>
              <a:rPr lang="nl-NL" dirty="0" err="1">
                <a:latin typeface="Söhne"/>
              </a:rPr>
              <a:t>chatgpt</a:t>
            </a:r>
            <a:endParaRPr lang="nl-NL" dirty="0">
              <a:latin typeface="Söhne"/>
            </a:endParaRPr>
          </a:p>
          <a:p>
            <a:endParaRPr lang="nl-NL" dirty="0"/>
          </a:p>
        </p:txBody>
      </p:sp>
    </p:spTree>
    <p:extLst>
      <p:ext uri="{BB962C8B-B14F-4D97-AF65-F5344CB8AC3E}">
        <p14:creationId xmlns:p14="http://schemas.microsoft.com/office/powerpoint/2010/main" val="11335502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AM 2019">
  <a:themeElements>
    <a:clrScheme name="BAM 2020">
      <a:dk1>
        <a:sysClr val="windowText" lastClr="000000"/>
      </a:dk1>
      <a:lt1>
        <a:sysClr val="window" lastClr="FFFFFF"/>
      </a:lt1>
      <a:dk2>
        <a:srgbClr val="E3EFDE"/>
      </a:dk2>
      <a:lt2>
        <a:srgbClr val="F4D1C0"/>
      </a:lt2>
      <a:accent1>
        <a:srgbClr val="0DB02A"/>
      </a:accent1>
      <a:accent2>
        <a:srgbClr val="EA5B0C"/>
      </a:accent2>
      <a:accent3>
        <a:srgbClr val="326E37"/>
      </a:accent3>
      <a:accent4>
        <a:srgbClr val="0DB02A"/>
      </a:accent4>
      <a:accent5>
        <a:srgbClr val="7F7F7F"/>
      </a:accent5>
      <a:accent6>
        <a:srgbClr val="5F5F5F"/>
      </a:accent6>
      <a:hlink>
        <a:srgbClr val="7F7F7F"/>
      </a:hlink>
      <a:folHlink>
        <a:srgbClr val="7F7F7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AM_NL_16x9_2021_leeg.potx" id="{10426FB3-BF19-4DAB-B28B-0CED8F76C8D3}" vid="{B4DF9ECC-44C1-46DC-8283-CC68C0CC7EBA}"/>
    </a:ext>
  </a:extLst>
</a:theme>
</file>

<file path=ppt/theme/theme2.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ReadOnly xmlns="5c6a04a9-8c4d-4399-97dd-b411ea78cc7c">false</ReadOnly>
    <Owner xmlns="a426fc56-af65-4e8f-a9ff-3941d1d5d03e">
      <UserInfo>
        <DisplayName/>
        <AccountId xsi:nil="true"/>
        <AccountType/>
      </UserInfo>
    </Owner>
    <TaxCatchAll xmlns="46081320-9ae3-4ab4-afb3-a51c151eddcf" xsi:nil="true"/>
    <lcf76f155ced4ddcb4097134ff3c332f xmlns="a426fc56-af65-4e8f-a9ff-3941d1d5d03e">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SyncFile" ma:contentTypeID="0x010100A9A932717EDC2148A5AA2B6D3F826ECC000DEDDD42BAF97C4FBD3896E7F5A51C1E" ma:contentTypeVersion="16" ma:contentTypeDescription="" ma:contentTypeScope="" ma:versionID="15c7e3a2767992ce44b33dc212dee59e">
  <xsd:schema xmlns:xsd="http://www.w3.org/2001/XMLSchema" xmlns:xs="http://www.w3.org/2001/XMLSchema" xmlns:p="http://schemas.microsoft.com/office/2006/metadata/properties" xmlns:ns2="5c6a04a9-8c4d-4399-97dd-b411ea78cc7c" xmlns:ns3="a426fc56-af65-4e8f-a9ff-3941d1d5d03e" xmlns:ns4="46081320-9ae3-4ab4-afb3-a51c151eddcf" targetNamespace="http://schemas.microsoft.com/office/2006/metadata/properties" ma:root="true" ma:fieldsID="b248d2168ad4804eaf272badeae9ea3a" ns2:_="" ns3:_="" ns4:_="">
    <xsd:import namespace="5c6a04a9-8c4d-4399-97dd-b411ea78cc7c"/>
    <xsd:import namespace="a426fc56-af65-4e8f-a9ff-3941d1d5d03e"/>
    <xsd:import namespace="46081320-9ae3-4ab4-afb3-a51c151eddcf"/>
    <xsd:element name="properties">
      <xsd:complexType>
        <xsd:sequence>
          <xsd:element name="documentManagement">
            <xsd:complexType>
              <xsd:all>
                <xsd:element ref="ns2:ReadOnly" minOccurs="0"/>
                <xsd:element ref="ns3:MediaServiceDateTaken" minOccurs="0"/>
                <xsd:element ref="ns3:MediaServiceAutoTags" minOccurs="0"/>
                <xsd:element ref="ns3:MediaServiceOCR" minOccurs="0"/>
                <xsd:element ref="ns2:SharedWithUsers" minOccurs="0"/>
                <xsd:element ref="ns2:SharedWithDetails" minOccurs="0"/>
                <xsd:element ref="ns3:Owner" minOccurs="0"/>
                <xsd:element ref="ns3:MediaServiceAutoKeyPoints" minOccurs="0"/>
                <xsd:element ref="ns3:MediaServiceKeyPoints" minOccurs="0"/>
                <xsd:element ref="ns3:MediaServiceGenerationTime" minOccurs="0"/>
                <xsd:element ref="ns3:MediaServiceEventHashCode" minOccurs="0"/>
                <xsd:element ref="ns3:lcf76f155ced4ddcb4097134ff3c332f" minOccurs="0"/>
                <xsd:element ref="ns4:TaxCatchAll"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c6a04a9-8c4d-4399-97dd-b411ea78cc7c" elementFormDefault="qualified">
    <xsd:import namespace="http://schemas.microsoft.com/office/2006/documentManagement/types"/>
    <xsd:import namespace="http://schemas.microsoft.com/office/infopath/2007/PartnerControls"/>
    <xsd:element name="ReadOnly" ma:index="8" nillable="true" ma:displayName="ReadOnly" ma:default="0" ma:internalName="ReadOnly">
      <xsd:simpleType>
        <xsd:restriction base="dms:Boolean"/>
      </xsd:simpleType>
    </xsd:element>
    <xsd:element name="SharedWithUsers" ma:index="12"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Gedeeld met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426fc56-af65-4e8f-a9ff-3941d1d5d03e" elementFormDefault="qualified">
    <xsd:import namespace="http://schemas.microsoft.com/office/2006/documentManagement/types"/>
    <xsd:import namespace="http://schemas.microsoft.com/office/infopath/2007/PartnerControls"/>
    <xsd:element name="MediaServiceDateTaken" ma:index="9" nillable="true" ma:displayName="MediaServiceDateTaken" ma:hidden="true" ma:internalName="MediaServiceDateTaken" ma:readOnly="true">
      <xsd:simpleType>
        <xsd:restriction base="dms:Text"/>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Owner" ma:index="14" nillable="true" ma:displayName="Owner" ma:format="Dropdown" ma:list="UserInfo" ma:SharePointGroup="0" ma:internalName="Owner">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lcf76f155ced4ddcb4097134ff3c332f" ma:index="20" nillable="true" ma:taxonomy="true" ma:internalName="lcf76f155ced4ddcb4097134ff3c332f" ma:taxonomyFieldName="MediaServiceImageTags" ma:displayName="Afbeeldingtags" ma:readOnly="false" ma:fieldId="{5cf76f15-5ced-4ddc-b409-7134ff3c332f}" ma:taxonomyMulti="true" ma:sspId="769557f3-ea9a-4272-9fa3-17d788de4743" ma:termSetId="09814cd3-568e-fe90-9814-8d621ff8fb84" ma:anchorId="fba54fb3-c3e1-fe81-a776-ca4b69148c4d" ma:open="true" ma:isKeyword="false">
      <xsd:complexType>
        <xsd:sequence>
          <xsd:element ref="pc:Terms" minOccurs="0" maxOccurs="1"/>
        </xsd:sequence>
      </xsd:complex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6081320-9ae3-4ab4-afb3-a51c151eddcf"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d8b3465d-ddfc-4bab-9a53-e40f23903e9d}" ma:internalName="TaxCatchAll" ma:showField="CatchAllData" ma:web="5c6a04a9-8c4d-4399-97dd-b411ea78cc7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C279383-6E65-4028-B14D-62ED5E7037D7}">
  <ds:schemaRefs>
    <ds:schemaRef ds:uri="http://schemas.microsoft.com/sharepoint/v3/contenttype/forms"/>
  </ds:schemaRefs>
</ds:datastoreItem>
</file>

<file path=customXml/itemProps2.xml><?xml version="1.0" encoding="utf-8"?>
<ds:datastoreItem xmlns:ds="http://schemas.openxmlformats.org/officeDocument/2006/customXml" ds:itemID="{3FB18EE9-AA7F-42D2-A25D-958F91A46A94}">
  <ds:schemaRefs>
    <ds:schemaRef ds:uri="http://purl.org/dc/elements/1.1/"/>
    <ds:schemaRef ds:uri="http://schemas.microsoft.com/office/2006/metadata/properties"/>
    <ds:schemaRef ds:uri="a426fc56-af65-4e8f-a9ff-3941d1d5d03e"/>
    <ds:schemaRef ds:uri="http://purl.org/dc/terms/"/>
    <ds:schemaRef ds:uri="http://schemas.microsoft.com/office/infopath/2007/PartnerControls"/>
    <ds:schemaRef ds:uri="http://schemas.microsoft.com/office/2006/documentManagement/types"/>
    <ds:schemaRef ds:uri="46081320-9ae3-4ab4-afb3-a51c151eddcf"/>
    <ds:schemaRef ds:uri="http://schemas.openxmlformats.org/package/2006/metadata/core-properties"/>
    <ds:schemaRef ds:uri="5c6a04a9-8c4d-4399-97dd-b411ea78cc7c"/>
    <ds:schemaRef ds:uri="http://www.w3.org/XML/1998/namespace"/>
    <ds:schemaRef ds:uri="http://purl.org/dc/dcmitype/"/>
  </ds:schemaRefs>
</ds:datastoreItem>
</file>

<file path=customXml/itemProps3.xml><?xml version="1.0" encoding="utf-8"?>
<ds:datastoreItem xmlns:ds="http://schemas.openxmlformats.org/officeDocument/2006/customXml" ds:itemID="{7BD8EDCB-222E-4037-968D-7DAF06DBE2D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c6a04a9-8c4d-4399-97dd-b411ea78cc7c"/>
    <ds:schemaRef ds:uri="a426fc56-af65-4e8f-a9ff-3941d1d5d03e"/>
    <ds:schemaRef ds:uri="46081320-9ae3-4ab4-afb3-a51c151eddc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AM_NL_16x9_2021_leeg</Template>
  <TotalTime>0</TotalTime>
  <Words>2067</Words>
  <Application>Microsoft Office PowerPoint</Application>
  <PresentationFormat>Breedbeeld</PresentationFormat>
  <Paragraphs>163</Paragraphs>
  <Slides>11</Slides>
  <Notes>7</Notes>
  <HiddenSlides>0</HiddenSlides>
  <MMClips>0</MMClips>
  <ScaleCrop>false</ScaleCrop>
  <HeadingPairs>
    <vt:vector size="8" baseType="variant">
      <vt:variant>
        <vt:lpstr>Gebruikte lettertypen</vt:lpstr>
      </vt:variant>
      <vt:variant>
        <vt:i4>4</vt:i4>
      </vt:variant>
      <vt:variant>
        <vt:lpstr>Thema</vt:lpstr>
      </vt:variant>
      <vt:variant>
        <vt:i4>1</vt:i4>
      </vt:variant>
      <vt:variant>
        <vt:lpstr>Ingesloten OLE-bronprogramma's</vt:lpstr>
      </vt:variant>
      <vt:variant>
        <vt:i4>1</vt:i4>
      </vt:variant>
      <vt:variant>
        <vt:lpstr>Diatitels</vt:lpstr>
      </vt:variant>
      <vt:variant>
        <vt:i4>11</vt:i4>
      </vt:variant>
    </vt:vector>
  </HeadingPairs>
  <TitlesOfParts>
    <vt:vector size="17" baseType="lpstr">
      <vt:lpstr>Arial</vt:lpstr>
      <vt:lpstr>Calibri</vt:lpstr>
      <vt:lpstr>Söhne</vt:lpstr>
      <vt:lpstr>Wingdings</vt:lpstr>
      <vt:lpstr>BAM 2019</vt:lpstr>
      <vt:lpstr>think-cell Slide</vt:lpstr>
      <vt:lpstr>PowerPoint-presentatie</vt:lpstr>
      <vt:lpstr>The underlying steps</vt:lpstr>
      <vt:lpstr>What is Linked data?</vt:lpstr>
      <vt:lpstr>What is Linked data?</vt:lpstr>
      <vt:lpstr>What is RDF ?</vt:lpstr>
      <vt:lpstr>What is RDF ?</vt:lpstr>
      <vt:lpstr>What is SPARQL ?</vt:lpstr>
      <vt:lpstr>What is SPARQL ?</vt:lpstr>
      <vt:lpstr>What is SHACL ?</vt:lpstr>
      <vt:lpstr>What is SHACL ?</vt:lpstr>
      <vt:lpstr>What is Python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 oranje voettekst wijzigen</dc:title>
  <dc:creator>Temminghoff, Daan</dc:creator>
  <cp:keywords/>
  <cp:lastModifiedBy>Bosma, Janneke</cp:lastModifiedBy>
  <cp:revision>6</cp:revision>
  <dcterms:created xsi:type="dcterms:W3CDTF">2023-11-15T15:21:24Z</dcterms:created>
  <dcterms:modified xsi:type="dcterms:W3CDTF">2024-04-15T12:59: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9A932717EDC2148A5AA2B6D3F826ECC000DEDDD42BAF97C4FBD3896E7F5A51C1E</vt:lpwstr>
  </property>
  <property fmtid="{D5CDD505-2E9C-101B-9397-08002B2CF9AE}" pid="3" name="ValoIntranetDocumentType">
    <vt:lpwstr/>
  </property>
  <property fmtid="{D5CDD505-2E9C-101B-9397-08002B2CF9AE}" pid="4" name="TaxKeyword">
    <vt:lpwstr/>
  </property>
  <property fmtid="{D5CDD505-2E9C-101B-9397-08002B2CF9AE}" pid="5" name="MediaServiceImageTags">
    <vt:lpwstr/>
  </property>
  <property fmtid="{D5CDD505-2E9C-101B-9397-08002B2CF9AE}" pid="6" name="MSIP_Label_41a6e227-27d5-42bc-8eb9-760c0419ec2f_Enabled">
    <vt:lpwstr>true</vt:lpwstr>
  </property>
  <property fmtid="{D5CDD505-2E9C-101B-9397-08002B2CF9AE}" pid="7" name="MSIP_Label_41a6e227-27d5-42bc-8eb9-760c0419ec2f_SetDate">
    <vt:lpwstr>2024-04-15T10:28:54Z</vt:lpwstr>
  </property>
  <property fmtid="{D5CDD505-2E9C-101B-9397-08002B2CF9AE}" pid="8" name="MSIP_Label_41a6e227-27d5-42bc-8eb9-760c0419ec2f_Method">
    <vt:lpwstr>Standard</vt:lpwstr>
  </property>
  <property fmtid="{D5CDD505-2E9C-101B-9397-08002B2CF9AE}" pid="9" name="MSIP_Label_41a6e227-27d5-42bc-8eb9-760c0419ec2f_Name">
    <vt:lpwstr>Private</vt:lpwstr>
  </property>
  <property fmtid="{D5CDD505-2E9C-101B-9397-08002B2CF9AE}" pid="10" name="MSIP_Label_41a6e227-27d5-42bc-8eb9-760c0419ec2f_SiteId">
    <vt:lpwstr>bf5f4046-a1dc-4119-aa8a-bfb9fbf46271</vt:lpwstr>
  </property>
  <property fmtid="{D5CDD505-2E9C-101B-9397-08002B2CF9AE}" pid="11" name="MSIP_Label_41a6e227-27d5-42bc-8eb9-760c0419ec2f_ActionId">
    <vt:lpwstr>20e72df8-de28-4d17-a3db-93624e718050</vt:lpwstr>
  </property>
  <property fmtid="{D5CDD505-2E9C-101B-9397-08002B2CF9AE}" pid="12" name="MSIP_Label_41a6e227-27d5-42bc-8eb9-760c0419ec2f_ContentBits">
    <vt:lpwstr>0</vt:lpwstr>
  </property>
</Properties>
</file>